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6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258" r:id="rId2"/>
    <p:sldId id="296" r:id="rId3"/>
    <p:sldId id="264" r:id="rId4"/>
    <p:sldId id="313" r:id="rId5"/>
    <p:sldId id="311" r:id="rId6"/>
    <p:sldId id="312" r:id="rId7"/>
    <p:sldId id="310" r:id="rId8"/>
    <p:sldId id="307" r:id="rId9"/>
    <p:sldId id="314" r:id="rId10"/>
    <p:sldId id="315" r:id="rId11"/>
    <p:sldId id="316" r:id="rId12"/>
    <p:sldId id="317" r:id="rId13"/>
    <p:sldId id="318" r:id="rId14"/>
    <p:sldId id="319" r:id="rId15"/>
  </p:sldIdLst>
  <p:sldSz cx="12192000" cy="6858000"/>
  <p:notesSz cx="6858000" cy="91440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9FEC"/>
    <a:srgbClr val="CEC9B5"/>
    <a:srgbClr val="69685B"/>
    <a:srgbClr val="FE12ED"/>
    <a:srgbClr val="66AF9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190" autoAdjust="0"/>
    <p:restoredTop sz="77561" autoAdjust="0"/>
  </p:normalViewPr>
  <p:slideViewPr>
    <p:cSldViewPr snapToGrid="0" snapToObjects="1">
      <p:cViewPr varScale="1">
        <p:scale>
          <a:sx n="69" d="100"/>
          <a:sy n="69" d="100"/>
        </p:scale>
        <p:origin x="408" y="192"/>
      </p:cViewPr>
      <p:guideLst/>
    </p:cSldViewPr>
  </p:slideViewPr>
  <p:outlineViewPr>
    <p:cViewPr>
      <p:scale>
        <a:sx n="33" d="100"/>
        <a:sy n="33" d="100"/>
      </p:scale>
      <p:origin x="0" y="-66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106" d="100"/>
          <a:sy n="106" d="100"/>
        </p:scale>
        <p:origin x="3216" y="184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C89EDB-3FDD-4915-A3CE-62FA29C01A32}" type="datetimeFigureOut">
              <a:rPr lang="en-US" smtClean="0"/>
              <a:t>12/25/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5042649-1860-4D03-9360-22C2D8836B4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36618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54499FB-0CC7-453D-9493-CBDCD6D233E2}" type="datetimeFigureOut">
              <a:rPr lang="en-US" smtClean="0"/>
              <a:t>12/25/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476A24B-926E-40EB-9E1B-5321DC3775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75946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lnSpc>
        <a:spcPct val="110000"/>
      </a:lnSpc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228600" indent="-111125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46075" indent="-117475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57200" indent="-111125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457200" indent="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1200" dirty="0"/>
              <a:t>-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76A24B-926E-40EB-9E1B-5321DC3775E5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05092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76A24B-926E-40EB-9E1B-5321DC3775E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02213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76A24B-926E-40EB-9E1B-5321DC3775E5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04480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76A24B-926E-40EB-9E1B-5321DC3775E5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42280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76A24B-926E-40EB-9E1B-5321DC3775E5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12503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76A24B-926E-40EB-9E1B-5321DC3775E5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174125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76A24B-926E-40EB-9E1B-5321DC3775E5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921261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76A24B-926E-40EB-9E1B-5321DC3775E5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06169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gradFill>
          <a:gsLst>
            <a:gs pos="0">
              <a:schemeClr val="accent4">
                <a:lumMod val="63000"/>
                <a:lumOff val="37000"/>
              </a:schemeClr>
            </a:gs>
            <a:gs pos="76000">
              <a:schemeClr val="accent1"/>
            </a:gs>
          </a:gsLst>
          <a:path path="circle">
            <a:fillToRect l="100000" t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A1FD6F9-D212-2E42-B64E-F33E6A95F59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9673" y="1905001"/>
            <a:ext cx="10375675" cy="2225262"/>
          </a:xfrm>
        </p:spPr>
        <p:txBody>
          <a:bodyPr anchor="ctr"/>
          <a:lstStyle>
            <a:lvl1pPr>
              <a:defRPr sz="5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899605" y="4620890"/>
            <a:ext cx="10377927" cy="141577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2200" b="0" i="0">
                <a:solidFill>
                  <a:schemeClr val="bg1"/>
                </a:solidFill>
                <a:latin typeface="Franklin Gothic Demi Cond" panose="020B0706030402020204" pitchFamily="34" charset="0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1500">
                <a:solidFill>
                  <a:schemeClr val="bg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1500">
                <a:solidFill>
                  <a:schemeClr val="bg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1500">
                <a:solidFill>
                  <a:schemeClr val="bg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4" name="Group 3"/>
          <p:cNvGrpSpPr/>
          <p:nvPr userDrawn="1"/>
        </p:nvGrpSpPr>
        <p:grpSpPr>
          <a:xfrm>
            <a:off x="904048" y="1732950"/>
            <a:ext cx="10373553" cy="2672550"/>
            <a:chOff x="914400" y="1732950"/>
            <a:chExt cx="7316788" cy="2672550"/>
          </a:xfrm>
        </p:grpSpPr>
        <p:cxnSp>
          <p:nvCxnSpPr>
            <p:cNvPr id="11" name="Straight Connector 10"/>
            <p:cNvCxnSpPr/>
            <p:nvPr userDrawn="1"/>
          </p:nvCxnSpPr>
          <p:spPr>
            <a:xfrm>
              <a:off x="914400" y="1732950"/>
              <a:ext cx="731520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Freeform 6"/>
            <p:cNvSpPr>
              <a:spLocks/>
            </p:cNvSpPr>
            <p:nvPr userDrawn="1"/>
          </p:nvSpPr>
          <p:spPr bwMode="auto">
            <a:xfrm>
              <a:off x="915988" y="4302313"/>
              <a:ext cx="7315200" cy="103187"/>
            </a:xfrm>
            <a:custGeom>
              <a:avLst/>
              <a:gdLst>
                <a:gd name="T0" fmla="*/ 0 w 4608"/>
                <a:gd name="T1" fmla="*/ 0 h 65"/>
                <a:gd name="T2" fmla="*/ 224 w 4608"/>
                <a:gd name="T3" fmla="*/ 0 h 65"/>
                <a:gd name="T4" fmla="*/ 286 w 4608"/>
                <a:gd name="T5" fmla="*/ 65 h 65"/>
                <a:gd name="T6" fmla="*/ 349 w 4608"/>
                <a:gd name="T7" fmla="*/ 0 h 65"/>
                <a:gd name="T8" fmla="*/ 4608 w 4608"/>
                <a:gd name="T9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08" h="65">
                  <a:moveTo>
                    <a:pt x="0" y="0"/>
                  </a:moveTo>
                  <a:lnTo>
                    <a:pt x="224" y="0"/>
                  </a:lnTo>
                  <a:lnTo>
                    <a:pt x="286" y="65"/>
                  </a:lnTo>
                  <a:lnTo>
                    <a:pt x="349" y="0"/>
                  </a:lnTo>
                  <a:lnTo>
                    <a:pt x="4608" y="0"/>
                  </a:lnTo>
                </a:path>
              </a:pathLst>
            </a:custGeom>
            <a:noFill/>
            <a:ln w="9525" cap="flat">
              <a:solidFill>
                <a:schemeClr val="bg1">
                  <a:lumMod val="8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31489108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or Main Idea">
    <p:bg>
      <p:bgPr>
        <a:gradFill>
          <a:gsLst>
            <a:gs pos="0">
              <a:schemeClr val="accent4">
                <a:lumMod val="63000"/>
                <a:lumOff val="37000"/>
              </a:schemeClr>
            </a:gs>
            <a:gs pos="76000">
              <a:schemeClr val="accent1"/>
            </a:gs>
          </a:gsLst>
          <a:path path="circle">
            <a:fillToRect l="100000" t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A1FD6F9-D212-2E42-B64E-F33E6A95F59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9673" y="1905001"/>
            <a:ext cx="10375675" cy="2225262"/>
          </a:xfrm>
        </p:spPr>
        <p:txBody>
          <a:bodyPr anchor="ctr"/>
          <a:lstStyle>
            <a:lvl1pPr>
              <a:defRPr sz="4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899605" y="4620890"/>
            <a:ext cx="10377927" cy="141577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2100" b="0" i="0">
                <a:solidFill>
                  <a:schemeClr val="bg1"/>
                </a:solidFill>
                <a:latin typeface="Franklin Gothic Demi Cond" panose="020B0706030402020204" pitchFamily="34" charset="0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1500">
                <a:solidFill>
                  <a:schemeClr val="bg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1500">
                <a:solidFill>
                  <a:schemeClr val="bg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1500">
                <a:solidFill>
                  <a:schemeClr val="bg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4" name="Group 3"/>
          <p:cNvGrpSpPr/>
          <p:nvPr userDrawn="1"/>
        </p:nvGrpSpPr>
        <p:grpSpPr>
          <a:xfrm>
            <a:off x="904048" y="1732950"/>
            <a:ext cx="10373553" cy="2672550"/>
            <a:chOff x="914400" y="1732950"/>
            <a:chExt cx="7316788" cy="2672550"/>
          </a:xfrm>
        </p:grpSpPr>
        <p:cxnSp>
          <p:nvCxnSpPr>
            <p:cNvPr id="11" name="Straight Connector 10"/>
            <p:cNvCxnSpPr>
              <a:cxnSpLocks/>
            </p:cNvCxnSpPr>
            <p:nvPr userDrawn="1"/>
          </p:nvCxnSpPr>
          <p:spPr>
            <a:xfrm>
              <a:off x="914400" y="1732950"/>
              <a:ext cx="731520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Freeform 6"/>
            <p:cNvSpPr>
              <a:spLocks/>
            </p:cNvSpPr>
            <p:nvPr userDrawn="1"/>
          </p:nvSpPr>
          <p:spPr bwMode="auto">
            <a:xfrm>
              <a:off x="915988" y="4302313"/>
              <a:ext cx="7315200" cy="103187"/>
            </a:xfrm>
            <a:custGeom>
              <a:avLst/>
              <a:gdLst>
                <a:gd name="T0" fmla="*/ 0 w 4608"/>
                <a:gd name="T1" fmla="*/ 0 h 65"/>
                <a:gd name="T2" fmla="*/ 224 w 4608"/>
                <a:gd name="T3" fmla="*/ 0 h 65"/>
                <a:gd name="T4" fmla="*/ 286 w 4608"/>
                <a:gd name="T5" fmla="*/ 65 h 65"/>
                <a:gd name="T6" fmla="*/ 349 w 4608"/>
                <a:gd name="T7" fmla="*/ 0 h 65"/>
                <a:gd name="T8" fmla="*/ 4608 w 4608"/>
                <a:gd name="T9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08" h="65">
                  <a:moveTo>
                    <a:pt x="0" y="0"/>
                  </a:moveTo>
                  <a:lnTo>
                    <a:pt x="224" y="0"/>
                  </a:lnTo>
                  <a:lnTo>
                    <a:pt x="286" y="65"/>
                  </a:lnTo>
                  <a:lnTo>
                    <a:pt x="349" y="0"/>
                  </a:lnTo>
                  <a:lnTo>
                    <a:pt x="4608" y="0"/>
                  </a:lnTo>
                </a:path>
              </a:pathLst>
            </a:custGeom>
            <a:noFill/>
            <a:ln w="9525" cap="flat">
              <a:solidFill>
                <a:schemeClr val="bg1">
                  <a:lumMod val="8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7850718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or Main Idea-2">
    <p:bg>
      <p:bgPr>
        <a:gradFill>
          <a:gsLst>
            <a:gs pos="0">
              <a:schemeClr val="accent4">
                <a:lumMod val="63000"/>
                <a:lumOff val="37000"/>
              </a:schemeClr>
            </a:gs>
            <a:gs pos="76000">
              <a:schemeClr val="accent1"/>
            </a:gs>
          </a:gsLst>
          <a:path path="circle">
            <a:fillToRect l="100000" t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A1FD6F9-D212-2E42-B64E-F33E6A95F59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9673" y="1127050"/>
            <a:ext cx="5192783" cy="3555295"/>
          </a:xfrm>
        </p:spPr>
        <p:txBody>
          <a:bodyPr anchor="ctr"/>
          <a:lstStyle>
            <a:lvl1pPr>
              <a:defRPr sz="4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899605" y="5024927"/>
            <a:ext cx="5192851" cy="141577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2100" b="0" i="0">
                <a:solidFill>
                  <a:schemeClr val="bg1"/>
                </a:solidFill>
                <a:latin typeface="Franklin Gothic Demi Cond" panose="020B0706030402020204" pitchFamily="34" charset="0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1500">
                <a:solidFill>
                  <a:schemeClr val="bg1"/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1500">
                <a:solidFill>
                  <a:schemeClr val="bg1"/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1500">
                <a:solidFill>
                  <a:schemeClr val="bg1"/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1" name="Straight Connector 10"/>
          <p:cNvCxnSpPr>
            <a:cxnSpLocks/>
          </p:cNvCxnSpPr>
          <p:nvPr userDrawn="1"/>
        </p:nvCxnSpPr>
        <p:spPr>
          <a:xfrm>
            <a:off x="904048" y="1009936"/>
            <a:ext cx="5188408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reeform 6"/>
          <p:cNvSpPr>
            <a:spLocks/>
          </p:cNvSpPr>
          <p:nvPr userDrawn="1"/>
        </p:nvSpPr>
        <p:spPr bwMode="auto">
          <a:xfrm>
            <a:off x="906298" y="4802043"/>
            <a:ext cx="5161797" cy="103187"/>
          </a:xfrm>
          <a:custGeom>
            <a:avLst/>
            <a:gdLst>
              <a:gd name="T0" fmla="*/ 0 w 4608"/>
              <a:gd name="T1" fmla="*/ 0 h 65"/>
              <a:gd name="T2" fmla="*/ 224 w 4608"/>
              <a:gd name="T3" fmla="*/ 0 h 65"/>
              <a:gd name="T4" fmla="*/ 286 w 4608"/>
              <a:gd name="T5" fmla="*/ 65 h 65"/>
              <a:gd name="T6" fmla="*/ 349 w 4608"/>
              <a:gd name="T7" fmla="*/ 0 h 65"/>
              <a:gd name="T8" fmla="*/ 4608 w 4608"/>
              <a:gd name="T9" fmla="*/ 0 h 65"/>
              <a:gd name="connsiteX0" fmla="*/ 0 w 4977"/>
              <a:gd name="connsiteY0" fmla="*/ 0 h 10000"/>
              <a:gd name="connsiteX1" fmla="*/ 486 w 4977"/>
              <a:gd name="connsiteY1" fmla="*/ 0 h 10000"/>
              <a:gd name="connsiteX2" fmla="*/ 621 w 4977"/>
              <a:gd name="connsiteY2" fmla="*/ 10000 h 10000"/>
              <a:gd name="connsiteX3" fmla="*/ 757 w 4977"/>
              <a:gd name="connsiteY3" fmla="*/ 0 h 10000"/>
              <a:gd name="connsiteX4" fmla="*/ 4977 w 497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77" h="10000">
                <a:moveTo>
                  <a:pt x="0" y="0"/>
                </a:moveTo>
                <a:lnTo>
                  <a:pt x="486" y="0"/>
                </a:lnTo>
                <a:lnTo>
                  <a:pt x="621" y="10000"/>
                </a:lnTo>
                <a:cubicBezTo>
                  <a:pt x="666" y="6667"/>
                  <a:pt x="712" y="3333"/>
                  <a:pt x="757" y="0"/>
                </a:cubicBezTo>
                <a:lnTo>
                  <a:pt x="4977" y="0"/>
                </a:lnTo>
              </a:path>
            </a:pathLst>
          </a:custGeom>
          <a:noFill/>
          <a:ln w="9525" cap="flat">
            <a:solidFill>
              <a:schemeClr val="bg1">
                <a:lumMod val="85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6763932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or Main Idea-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508" y="1905001"/>
            <a:ext cx="10366800" cy="2225262"/>
          </a:xfrm>
        </p:spPr>
        <p:txBody>
          <a:bodyPr anchor="ctr"/>
          <a:lstStyle>
            <a:lvl1pPr>
              <a:lnSpc>
                <a:spcPct val="95000"/>
              </a:lnSpc>
              <a:defRPr sz="4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911441" y="4620890"/>
            <a:ext cx="10369051" cy="141577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2100" i="0">
                <a:solidFill>
                  <a:schemeClr val="accent1"/>
                </a:solidFill>
                <a:latin typeface="Franklin Gothic Demi Cond" panose="020B0706030402020204" pitchFamily="34" charset="0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1500">
                <a:solidFill>
                  <a:schemeClr val="tx2">
                    <a:lumMod val="60000"/>
                    <a:lumOff val="40000"/>
                  </a:schemeClr>
                </a:solidFill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1500">
                <a:solidFill>
                  <a:schemeClr val="tx2">
                    <a:lumMod val="60000"/>
                    <a:lumOff val="40000"/>
                  </a:schemeClr>
                </a:solidFill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1500">
                <a:solidFill>
                  <a:schemeClr val="tx2">
                    <a:lumMod val="60000"/>
                    <a:lumOff val="40000"/>
                  </a:schemeClr>
                </a:solidFill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1500">
                <a:solidFill>
                  <a:schemeClr val="tx2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4" name="Group 3"/>
          <p:cNvGrpSpPr/>
          <p:nvPr userDrawn="1"/>
        </p:nvGrpSpPr>
        <p:grpSpPr>
          <a:xfrm>
            <a:off x="911508" y="1732950"/>
            <a:ext cx="10369051" cy="2672550"/>
            <a:chOff x="914400" y="1732950"/>
            <a:chExt cx="7316788" cy="2672550"/>
          </a:xfrm>
        </p:grpSpPr>
        <p:cxnSp>
          <p:nvCxnSpPr>
            <p:cNvPr id="11" name="Straight Connector 10"/>
            <p:cNvCxnSpPr/>
            <p:nvPr userDrawn="1"/>
          </p:nvCxnSpPr>
          <p:spPr>
            <a:xfrm>
              <a:off x="914400" y="1732950"/>
              <a:ext cx="7315200" cy="0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Freeform 6"/>
            <p:cNvSpPr>
              <a:spLocks/>
            </p:cNvSpPr>
            <p:nvPr userDrawn="1"/>
          </p:nvSpPr>
          <p:spPr bwMode="auto">
            <a:xfrm>
              <a:off x="915988" y="4302313"/>
              <a:ext cx="7315200" cy="103187"/>
            </a:xfrm>
            <a:custGeom>
              <a:avLst/>
              <a:gdLst>
                <a:gd name="T0" fmla="*/ 0 w 4608"/>
                <a:gd name="T1" fmla="*/ 0 h 65"/>
                <a:gd name="T2" fmla="*/ 224 w 4608"/>
                <a:gd name="T3" fmla="*/ 0 h 65"/>
                <a:gd name="T4" fmla="*/ 286 w 4608"/>
                <a:gd name="T5" fmla="*/ 65 h 65"/>
                <a:gd name="T6" fmla="*/ 349 w 4608"/>
                <a:gd name="T7" fmla="*/ 0 h 65"/>
                <a:gd name="T8" fmla="*/ 4608 w 4608"/>
                <a:gd name="T9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08" h="65">
                  <a:moveTo>
                    <a:pt x="0" y="0"/>
                  </a:moveTo>
                  <a:lnTo>
                    <a:pt x="224" y="0"/>
                  </a:lnTo>
                  <a:lnTo>
                    <a:pt x="286" y="65"/>
                  </a:lnTo>
                  <a:lnTo>
                    <a:pt x="349" y="0"/>
                  </a:lnTo>
                  <a:lnTo>
                    <a:pt x="4608" y="0"/>
                  </a:lnTo>
                </a:path>
              </a:pathLst>
            </a:custGeom>
            <a:noFill/>
            <a:ln w="9525" cap="flat">
              <a:solidFill>
                <a:schemeClr val="accent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2139996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24"/>
          <p:cNvSpPr txBox="1"/>
          <p:nvPr userDrawn="1"/>
        </p:nvSpPr>
        <p:spPr>
          <a:xfrm>
            <a:off x="-1270000" y="2959100"/>
            <a:ext cx="65" cy="30239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20000"/>
              </a:lnSpc>
            </a:pPr>
            <a:endParaRPr lang="en-US" sz="1800" dirty="0">
              <a:solidFill>
                <a:schemeClr val="tx2"/>
              </a:solidFill>
            </a:endParaRPr>
          </a:p>
        </p:txBody>
      </p:sp>
      <p:sp>
        <p:nvSpPr>
          <p:cNvPr id="37" name="Text Placeholder 31"/>
          <p:cNvSpPr>
            <a:spLocks noGrp="1"/>
          </p:cNvSpPr>
          <p:nvPr>
            <p:ph type="body" sz="quarter" idx="10"/>
          </p:nvPr>
        </p:nvSpPr>
        <p:spPr>
          <a:xfrm>
            <a:off x="8223684" y="2904236"/>
            <a:ext cx="3068713" cy="274675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defRPr lang="en-US" sz="1700" i="0" dirty="0" smtClean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4pPr>
            <a:lvl5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902208" y="2940813"/>
            <a:ext cx="6117069" cy="2946231"/>
          </a:xfrm>
        </p:spPr>
        <p:txBody>
          <a:bodyPr/>
          <a:lstStyle>
            <a:lvl1pPr marL="0" algn="r" defTabSz="914400" rtl="0" eaLnBrk="1" latinLnBrk="0" hangingPunct="1">
              <a:lnSpc>
                <a:spcPct val="70000"/>
              </a:lnSpc>
              <a:buNone/>
              <a:defRPr lang="en-US" sz="7000" kern="120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+mn-cs"/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Edit text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7640431" y="2769834"/>
            <a:ext cx="0" cy="288115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99E3085-A0AF-2F49-90EE-52FB15584E6C}"/>
              </a:ext>
            </a:extLst>
          </p:cNvPr>
          <p:cNvCxnSpPr/>
          <p:nvPr userDrawn="1"/>
        </p:nvCxnSpPr>
        <p:spPr>
          <a:xfrm>
            <a:off x="7684952" y="2769834"/>
            <a:ext cx="0" cy="2881159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018534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Box 26"/>
          <p:cNvSpPr txBox="1"/>
          <p:nvPr userDrawn="1"/>
        </p:nvSpPr>
        <p:spPr>
          <a:xfrm>
            <a:off x="10886832" y="6589188"/>
            <a:ext cx="390769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/>
            <a:fld id="{12EB7FDA-3CFA-48E9-9A35-E50E94D3505F}" type="slidenum">
              <a:rPr lang="en-US" sz="800" smtClean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</a:rPr>
              <a:pPr algn="r"/>
              <a:t>‹#›</a:t>
            </a:fld>
            <a:endParaRPr lang="en-US" sz="800" dirty="0">
              <a:solidFill>
                <a:schemeClr val="tx2">
                  <a:lumMod val="60000"/>
                  <a:lumOff val="40000"/>
                </a:schemeClr>
              </a:solidFill>
              <a:latin typeface="+mn-lt"/>
            </a:endParaRPr>
          </a:p>
        </p:txBody>
      </p:sp>
      <p:sp>
        <p:nvSpPr>
          <p:cNvPr id="28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914400" y="6577967"/>
            <a:ext cx="6705600" cy="134332"/>
          </a:xfrm>
        </p:spPr>
        <p:txBody>
          <a:bodyPr wrap="square" anchor="b">
            <a:spAutoFit/>
          </a:bodyPr>
          <a:lstStyle>
            <a:lvl1pPr>
              <a:defRPr sz="800" baseline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insert source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0" y="1"/>
            <a:ext cx="12192000" cy="6908105"/>
            <a:chOff x="0" y="0"/>
            <a:chExt cx="9144000" cy="6908105"/>
          </a:xfrm>
        </p:grpSpPr>
        <p:grpSp>
          <p:nvGrpSpPr>
            <p:cNvPr id="30" name="Group 29"/>
            <p:cNvGrpSpPr/>
            <p:nvPr userDrawn="1"/>
          </p:nvGrpSpPr>
          <p:grpSpPr>
            <a:xfrm>
              <a:off x="0" y="0"/>
              <a:ext cx="9144000" cy="6858000"/>
              <a:chOff x="0" y="0"/>
              <a:chExt cx="9144000" cy="6858000"/>
            </a:xfrm>
            <a:solidFill>
              <a:schemeClr val="bg1">
                <a:lumMod val="95000"/>
              </a:schemeClr>
            </a:solidFill>
          </p:grpSpPr>
          <p:sp>
            <p:nvSpPr>
              <p:cNvPr id="46" name="Rectangle 45"/>
              <p:cNvSpPr>
                <a:spLocks noChangeAspect="1"/>
              </p:cNvSpPr>
              <p:nvPr/>
            </p:nvSpPr>
            <p:spPr>
              <a:xfrm>
                <a:off x="0" y="0"/>
                <a:ext cx="685800" cy="6858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 dirty="0">
                  <a:solidFill>
                    <a:srgbClr val="F26531"/>
                  </a:solidFill>
                </a:endParaRPr>
              </a:p>
            </p:txBody>
          </p:sp>
          <p:sp>
            <p:nvSpPr>
              <p:cNvPr id="47" name="Rectangle 46"/>
              <p:cNvSpPr>
                <a:spLocks noChangeAspect="1"/>
              </p:cNvSpPr>
              <p:nvPr/>
            </p:nvSpPr>
            <p:spPr>
              <a:xfrm>
                <a:off x="8458200" y="0"/>
                <a:ext cx="685800" cy="6858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 dirty="0">
                  <a:solidFill>
                    <a:srgbClr val="F26531"/>
                  </a:solidFill>
                </a:endParaRPr>
              </a:p>
            </p:txBody>
          </p:sp>
          <p:sp>
            <p:nvSpPr>
              <p:cNvPr id="48" name="Rectangle 47"/>
              <p:cNvSpPr>
                <a:spLocks noChangeAspect="1"/>
              </p:cNvSpPr>
              <p:nvPr/>
            </p:nvSpPr>
            <p:spPr>
              <a:xfrm>
                <a:off x="0" y="0"/>
                <a:ext cx="8458200" cy="6858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 dirty="0">
                  <a:solidFill>
                    <a:srgbClr val="F26531"/>
                  </a:solidFill>
                </a:endParaRPr>
              </a:p>
            </p:txBody>
          </p:sp>
          <p:sp>
            <p:nvSpPr>
              <p:cNvPr id="49" name="Rectangle 48"/>
              <p:cNvSpPr>
                <a:spLocks noChangeAspect="1"/>
              </p:cNvSpPr>
              <p:nvPr/>
            </p:nvSpPr>
            <p:spPr>
              <a:xfrm>
                <a:off x="0" y="6172200"/>
                <a:ext cx="9144000" cy="6858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 dirty="0">
                  <a:solidFill>
                    <a:srgbClr val="F26531"/>
                  </a:solidFill>
                </a:endParaRPr>
              </a:p>
            </p:txBody>
          </p:sp>
        </p:grpSp>
        <p:cxnSp>
          <p:nvCxnSpPr>
            <p:cNvPr id="31" name="Straight Connector 30"/>
            <p:cNvCxnSpPr/>
            <p:nvPr userDrawn="1"/>
          </p:nvCxnSpPr>
          <p:spPr>
            <a:xfrm flipV="1">
              <a:off x="685800" y="0"/>
              <a:ext cx="0" cy="6858001"/>
            </a:xfrm>
            <a:prstGeom prst="line">
              <a:avLst/>
            </a:prstGeom>
            <a:ln w="3175">
              <a:solidFill>
                <a:srgbClr val="FF006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 flipV="1">
              <a:off x="8458200" y="0"/>
              <a:ext cx="0" cy="6858001"/>
            </a:xfrm>
            <a:prstGeom prst="line">
              <a:avLst/>
            </a:prstGeom>
            <a:ln w="3175">
              <a:solidFill>
                <a:srgbClr val="FF006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3" name="Group 32"/>
            <p:cNvGrpSpPr/>
            <p:nvPr userDrawn="1"/>
          </p:nvGrpSpPr>
          <p:grpSpPr>
            <a:xfrm>
              <a:off x="5715000" y="0"/>
              <a:ext cx="457200" cy="6908105"/>
              <a:chOff x="2956470" y="50104"/>
              <a:chExt cx="457200" cy="6858001"/>
            </a:xfrm>
          </p:grpSpPr>
          <p:cxnSp>
            <p:nvCxnSpPr>
              <p:cNvPr id="44" name="Straight Connector 43"/>
              <p:cNvCxnSpPr/>
              <p:nvPr/>
            </p:nvCxnSpPr>
            <p:spPr>
              <a:xfrm flipV="1">
                <a:off x="2956470" y="50104"/>
                <a:ext cx="0" cy="6858001"/>
              </a:xfrm>
              <a:prstGeom prst="line">
                <a:avLst/>
              </a:prstGeom>
              <a:ln w="3175">
                <a:solidFill>
                  <a:srgbClr val="FF0066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/>
              <p:cNvCxnSpPr/>
              <p:nvPr/>
            </p:nvCxnSpPr>
            <p:spPr>
              <a:xfrm flipV="1">
                <a:off x="3413670" y="50104"/>
                <a:ext cx="0" cy="6858001"/>
              </a:xfrm>
              <a:prstGeom prst="line">
                <a:avLst/>
              </a:prstGeom>
              <a:ln w="3175">
                <a:solidFill>
                  <a:srgbClr val="FF0066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4" name="Straight Connector 33"/>
            <p:cNvCxnSpPr/>
            <p:nvPr userDrawn="1"/>
          </p:nvCxnSpPr>
          <p:spPr>
            <a:xfrm rot="5400000" flipV="1">
              <a:off x="4572000" y="-3886200"/>
              <a:ext cx="0" cy="9144000"/>
            </a:xfrm>
            <a:prstGeom prst="line">
              <a:avLst/>
            </a:prstGeom>
            <a:ln w="3175">
              <a:solidFill>
                <a:srgbClr val="FF006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5" name="Group 34"/>
            <p:cNvGrpSpPr/>
            <p:nvPr userDrawn="1"/>
          </p:nvGrpSpPr>
          <p:grpSpPr>
            <a:xfrm>
              <a:off x="0" y="1143000"/>
              <a:ext cx="9144000" cy="914400"/>
              <a:chOff x="0" y="1143000"/>
              <a:chExt cx="9144000" cy="914400"/>
            </a:xfrm>
          </p:grpSpPr>
          <p:cxnSp>
            <p:nvCxnSpPr>
              <p:cNvPr id="42" name="Straight Connector 41"/>
              <p:cNvCxnSpPr/>
              <p:nvPr/>
            </p:nvCxnSpPr>
            <p:spPr>
              <a:xfrm rot="5400000" flipV="1">
                <a:off x="4572000" y="-2514600"/>
                <a:ext cx="0" cy="9144000"/>
              </a:xfrm>
              <a:prstGeom prst="line">
                <a:avLst/>
              </a:prstGeom>
              <a:ln w="3175">
                <a:solidFill>
                  <a:srgbClr val="FF0066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/>
              <p:cNvCxnSpPr/>
              <p:nvPr/>
            </p:nvCxnSpPr>
            <p:spPr>
              <a:xfrm rot="5400000" flipV="1">
                <a:off x="4572000" y="-3429000"/>
                <a:ext cx="0" cy="9144000"/>
              </a:xfrm>
              <a:prstGeom prst="line">
                <a:avLst/>
              </a:prstGeom>
              <a:ln w="3175">
                <a:solidFill>
                  <a:srgbClr val="FF0066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0" y="2971800"/>
              <a:ext cx="9144000" cy="914400"/>
              <a:chOff x="0" y="1143000"/>
              <a:chExt cx="9144000" cy="914400"/>
            </a:xfrm>
          </p:grpSpPr>
          <p:cxnSp>
            <p:nvCxnSpPr>
              <p:cNvPr id="40" name="Straight Connector 39"/>
              <p:cNvCxnSpPr/>
              <p:nvPr/>
            </p:nvCxnSpPr>
            <p:spPr>
              <a:xfrm rot="5400000" flipV="1">
                <a:off x="4572000" y="-2514600"/>
                <a:ext cx="0" cy="9144000"/>
              </a:xfrm>
              <a:prstGeom prst="line">
                <a:avLst/>
              </a:prstGeom>
              <a:ln w="3175">
                <a:solidFill>
                  <a:srgbClr val="FF0066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/>
              <p:cNvCxnSpPr/>
              <p:nvPr/>
            </p:nvCxnSpPr>
            <p:spPr>
              <a:xfrm rot="5400000" flipV="1">
                <a:off x="4572000" y="-3429000"/>
                <a:ext cx="0" cy="9144000"/>
              </a:xfrm>
              <a:prstGeom prst="line">
                <a:avLst/>
              </a:prstGeom>
              <a:ln w="3175">
                <a:solidFill>
                  <a:srgbClr val="FF0066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0" y="4800602"/>
              <a:ext cx="9144000" cy="914400"/>
              <a:chOff x="0" y="1143000"/>
              <a:chExt cx="9144000" cy="914400"/>
            </a:xfrm>
          </p:grpSpPr>
          <p:cxnSp>
            <p:nvCxnSpPr>
              <p:cNvPr id="38" name="Straight Connector 37"/>
              <p:cNvCxnSpPr/>
              <p:nvPr/>
            </p:nvCxnSpPr>
            <p:spPr>
              <a:xfrm rot="5400000" flipV="1">
                <a:off x="4572000" y="-2514600"/>
                <a:ext cx="0" cy="9144000"/>
              </a:xfrm>
              <a:prstGeom prst="line">
                <a:avLst/>
              </a:prstGeom>
              <a:ln w="3175">
                <a:solidFill>
                  <a:srgbClr val="FF0066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/>
              <p:cNvCxnSpPr/>
              <p:nvPr/>
            </p:nvCxnSpPr>
            <p:spPr>
              <a:xfrm rot="5400000" flipV="1">
                <a:off x="4572000" y="-3429000"/>
                <a:ext cx="0" cy="9144000"/>
              </a:xfrm>
              <a:prstGeom prst="line">
                <a:avLst/>
              </a:prstGeom>
              <a:ln w="3175">
                <a:solidFill>
                  <a:srgbClr val="FF0066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2971800" y="0"/>
              <a:ext cx="457200" cy="6908105"/>
              <a:chOff x="2956470" y="50104"/>
              <a:chExt cx="457200" cy="6858001"/>
            </a:xfrm>
          </p:grpSpPr>
          <p:cxnSp>
            <p:nvCxnSpPr>
              <p:cNvPr id="51" name="Straight Connector 50"/>
              <p:cNvCxnSpPr/>
              <p:nvPr/>
            </p:nvCxnSpPr>
            <p:spPr>
              <a:xfrm flipV="1">
                <a:off x="2956470" y="50104"/>
                <a:ext cx="0" cy="6858001"/>
              </a:xfrm>
              <a:prstGeom prst="line">
                <a:avLst/>
              </a:prstGeom>
              <a:ln w="3175">
                <a:solidFill>
                  <a:srgbClr val="FF0066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Connector 72"/>
              <p:cNvCxnSpPr/>
              <p:nvPr/>
            </p:nvCxnSpPr>
            <p:spPr>
              <a:xfrm flipV="1">
                <a:off x="3413670" y="50104"/>
                <a:ext cx="0" cy="6858001"/>
              </a:xfrm>
              <a:prstGeom prst="line">
                <a:avLst/>
              </a:prstGeom>
              <a:ln w="3175">
                <a:solidFill>
                  <a:srgbClr val="FF0066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7888603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C or Number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157507" y="2589836"/>
            <a:ext cx="3633693" cy="914399"/>
          </a:xfrm>
        </p:spPr>
        <p:txBody>
          <a:bodyPr anchor="t" anchorCtr="0">
            <a:noAutofit/>
          </a:bodyPr>
          <a:lstStyle>
            <a:lvl1pPr marL="0" indent="0">
              <a:lnSpc>
                <a:spcPts val="1700"/>
              </a:lnSpc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section title</a:t>
            </a: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2566389"/>
            <a:ext cx="1243107" cy="937839"/>
          </a:xfrm>
        </p:spPr>
        <p:txBody>
          <a:bodyPr anchor="t" anchorCtr="0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5000" i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  <p:sp>
        <p:nvSpPr>
          <p:cNvPr id="94" name="Text Placeholder 3"/>
          <p:cNvSpPr>
            <a:spLocks noGrp="1"/>
          </p:cNvSpPr>
          <p:nvPr>
            <p:ph type="body" sz="half" idx="29" hasCustomPrompt="1"/>
          </p:nvPr>
        </p:nvSpPr>
        <p:spPr>
          <a:xfrm>
            <a:off x="2157507" y="3504241"/>
            <a:ext cx="3633693" cy="914399"/>
          </a:xfrm>
        </p:spPr>
        <p:txBody>
          <a:bodyPr anchor="t" anchorCtr="0">
            <a:noAutofit/>
          </a:bodyPr>
          <a:lstStyle>
            <a:lvl1pPr marL="0" indent="0">
              <a:lnSpc>
                <a:spcPts val="1700"/>
              </a:lnSpc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section title</a:t>
            </a:r>
          </a:p>
        </p:txBody>
      </p:sp>
      <p:sp>
        <p:nvSpPr>
          <p:cNvPr id="95" name="Text Placeholder 29"/>
          <p:cNvSpPr>
            <a:spLocks noGrp="1"/>
          </p:cNvSpPr>
          <p:nvPr>
            <p:ph type="body" sz="quarter" idx="30" hasCustomPrompt="1"/>
          </p:nvPr>
        </p:nvSpPr>
        <p:spPr>
          <a:xfrm>
            <a:off x="914400" y="3480794"/>
            <a:ext cx="1243107" cy="937839"/>
          </a:xfrm>
        </p:spPr>
        <p:txBody>
          <a:bodyPr anchor="t" anchorCtr="0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5000" i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  <p:sp>
        <p:nvSpPr>
          <p:cNvPr id="96" name="Text Placeholder 3"/>
          <p:cNvSpPr>
            <a:spLocks noGrp="1"/>
          </p:cNvSpPr>
          <p:nvPr>
            <p:ph type="body" sz="half" idx="31" hasCustomPrompt="1"/>
          </p:nvPr>
        </p:nvSpPr>
        <p:spPr>
          <a:xfrm>
            <a:off x="2157507" y="4418646"/>
            <a:ext cx="3633693" cy="914399"/>
          </a:xfrm>
        </p:spPr>
        <p:txBody>
          <a:bodyPr anchor="t" anchorCtr="0">
            <a:noAutofit/>
          </a:bodyPr>
          <a:lstStyle>
            <a:lvl1pPr marL="0" indent="0">
              <a:lnSpc>
                <a:spcPts val="1700"/>
              </a:lnSpc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section title</a:t>
            </a:r>
          </a:p>
        </p:txBody>
      </p:sp>
      <p:sp>
        <p:nvSpPr>
          <p:cNvPr id="97" name="Text Placeholder 29"/>
          <p:cNvSpPr>
            <a:spLocks noGrp="1"/>
          </p:cNvSpPr>
          <p:nvPr>
            <p:ph type="body" sz="quarter" idx="32" hasCustomPrompt="1"/>
          </p:nvPr>
        </p:nvSpPr>
        <p:spPr>
          <a:xfrm>
            <a:off x="914400" y="4395199"/>
            <a:ext cx="1243107" cy="937839"/>
          </a:xfrm>
        </p:spPr>
        <p:txBody>
          <a:bodyPr anchor="t" anchorCtr="0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5000" i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  <p:sp>
        <p:nvSpPr>
          <p:cNvPr id="98" name="Text Placeholder 3"/>
          <p:cNvSpPr>
            <a:spLocks noGrp="1"/>
          </p:cNvSpPr>
          <p:nvPr>
            <p:ph type="body" sz="half" idx="33" hasCustomPrompt="1"/>
          </p:nvPr>
        </p:nvSpPr>
        <p:spPr>
          <a:xfrm>
            <a:off x="7643907" y="2589836"/>
            <a:ext cx="3633693" cy="914399"/>
          </a:xfrm>
        </p:spPr>
        <p:txBody>
          <a:bodyPr anchor="t" anchorCtr="0">
            <a:noAutofit/>
          </a:bodyPr>
          <a:lstStyle>
            <a:lvl1pPr marL="0" indent="0">
              <a:lnSpc>
                <a:spcPts val="1700"/>
              </a:lnSpc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section title</a:t>
            </a:r>
          </a:p>
        </p:txBody>
      </p:sp>
      <p:sp>
        <p:nvSpPr>
          <p:cNvPr id="99" name="Text Placeholder 29"/>
          <p:cNvSpPr>
            <a:spLocks noGrp="1"/>
          </p:cNvSpPr>
          <p:nvPr>
            <p:ph type="body" sz="quarter" idx="34" hasCustomPrompt="1"/>
          </p:nvPr>
        </p:nvSpPr>
        <p:spPr>
          <a:xfrm>
            <a:off x="6400800" y="2566389"/>
            <a:ext cx="1243107" cy="937839"/>
          </a:xfrm>
        </p:spPr>
        <p:txBody>
          <a:bodyPr anchor="t" anchorCtr="0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5000" i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  <p:sp>
        <p:nvSpPr>
          <p:cNvPr id="100" name="Text Placeholder 3"/>
          <p:cNvSpPr>
            <a:spLocks noGrp="1"/>
          </p:cNvSpPr>
          <p:nvPr>
            <p:ph type="body" sz="half" idx="35" hasCustomPrompt="1"/>
          </p:nvPr>
        </p:nvSpPr>
        <p:spPr>
          <a:xfrm>
            <a:off x="7643907" y="3504241"/>
            <a:ext cx="3633693" cy="914399"/>
          </a:xfrm>
        </p:spPr>
        <p:txBody>
          <a:bodyPr anchor="t" anchorCtr="0">
            <a:noAutofit/>
          </a:bodyPr>
          <a:lstStyle>
            <a:lvl1pPr marL="0" indent="0">
              <a:lnSpc>
                <a:spcPts val="1700"/>
              </a:lnSpc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section title</a:t>
            </a:r>
          </a:p>
        </p:txBody>
      </p:sp>
      <p:sp>
        <p:nvSpPr>
          <p:cNvPr id="101" name="Text Placeholder 29"/>
          <p:cNvSpPr>
            <a:spLocks noGrp="1"/>
          </p:cNvSpPr>
          <p:nvPr>
            <p:ph type="body" sz="quarter" idx="36" hasCustomPrompt="1"/>
          </p:nvPr>
        </p:nvSpPr>
        <p:spPr>
          <a:xfrm>
            <a:off x="6400800" y="3480794"/>
            <a:ext cx="1243107" cy="937839"/>
          </a:xfrm>
        </p:spPr>
        <p:txBody>
          <a:bodyPr anchor="t" anchorCtr="0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5000" i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  <p:sp>
        <p:nvSpPr>
          <p:cNvPr id="102" name="Text Placeholder 3"/>
          <p:cNvSpPr>
            <a:spLocks noGrp="1"/>
          </p:cNvSpPr>
          <p:nvPr>
            <p:ph type="body" sz="half" idx="37" hasCustomPrompt="1"/>
          </p:nvPr>
        </p:nvSpPr>
        <p:spPr>
          <a:xfrm>
            <a:off x="7643907" y="4418646"/>
            <a:ext cx="3633693" cy="914399"/>
          </a:xfrm>
        </p:spPr>
        <p:txBody>
          <a:bodyPr anchor="t" anchorCtr="0">
            <a:noAutofit/>
          </a:bodyPr>
          <a:lstStyle>
            <a:lvl1pPr marL="0" indent="0">
              <a:lnSpc>
                <a:spcPts val="1700"/>
              </a:lnSpc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section title</a:t>
            </a:r>
          </a:p>
        </p:txBody>
      </p:sp>
      <p:sp>
        <p:nvSpPr>
          <p:cNvPr id="103" name="Text Placeholder 29"/>
          <p:cNvSpPr>
            <a:spLocks noGrp="1"/>
          </p:cNvSpPr>
          <p:nvPr>
            <p:ph type="body" sz="quarter" idx="38" hasCustomPrompt="1"/>
          </p:nvPr>
        </p:nvSpPr>
        <p:spPr>
          <a:xfrm>
            <a:off x="6400800" y="4395199"/>
            <a:ext cx="1243107" cy="937839"/>
          </a:xfrm>
        </p:spPr>
        <p:txBody>
          <a:bodyPr anchor="t" anchorCtr="0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5000" i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C23B5B04-5E17-D640-81C3-D4B82468AE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923084"/>
            <a:ext cx="10363200" cy="91440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3D31BE0-CD3A-E04E-A7FB-DB5B5BA20F18}"/>
              </a:ext>
            </a:extLst>
          </p:cNvPr>
          <p:cNvSpPr>
            <a:spLocks noGrp="1"/>
          </p:cNvSpPr>
          <p:nvPr>
            <p:ph type="body" idx="28" hasCustomPrompt="1"/>
          </p:nvPr>
        </p:nvSpPr>
        <p:spPr>
          <a:xfrm>
            <a:off x="914400" y="482708"/>
            <a:ext cx="10363200" cy="451948"/>
          </a:xfrm>
        </p:spPr>
        <p:txBody>
          <a:bodyPr anchor="t"/>
          <a:lstStyle>
            <a:lvl1pPr marL="0" indent="0" algn="ct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700" b="0" i="0">
                <a:solidFill>
                  <a:schemeClr val="accent1"/>
                </a:solidFill>
                <a:latin typeface="Franklin Gothic Demi Cond" panose="020B07060304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90E21A4-2E8D-074F-9AC0-6CC72988CEFE}"/>
              </a:ext>
            </a:extLst>
          </p:cNvPr>
          <p:cNvCxnSpPr>
            <a:cxnSpLocks/>
          </p:cNvCxnSpPr>
          <p:nvPr userDrawn="1"/>
        </p:nvCxnSpPr>
        <p:spPr>
          <a:xfrm>
            <a:off x="2199190" y="798654"/>
            <a:ext cx="7793620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05154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13"/>
          <p:cNvSpPr>
            <a:spLocks noGrp="1"/>
          </p:cNvSpPr>
          <p:nvPr>
            <p:ph sz="quarter" idx="15"/>
          </p:nvPr>
        </p:nvSpPr>
        <p:spPr>
          <a:xfrm>
            <a:off x="914400" y="2073443"/>
            <a:ext cx="4876800" cy="365760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Content Placeholder 13"/>
          <p:cNvSpPr>
            <a:spLocks noGrp="1"/>
          </p:cNvSpPr>
          <p:nvPr>
            <p:ph sz="quarter" idx="16"/>
          </p:nvPr>
        </p:nvSpPr>
        <p:spPr>
          <a:xfrm>
            <a:off x="6400800" y="2073443"/>
            <a:ext cx="4876800" cy="365760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0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914400" y="6428256"/>
            <a:ext cx="6705600" cy="167931"/>
          </a:xfrm>
        </p:spPr>
        <p:txBody>
          <a:bodyPr wrap="square" anchor="b">
            <a:spAutoFit/>
          </a:bodyPr>
          <a:lstStyle>
            <a:lvl1pPr>
              <a:defRPr sz="1000" i="0" baseline="0">
                <a:solidFill>
                  <a:schemeClr val="bg2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insert source or footer information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F7544534-439F-AC4D-8175-3A0054377E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923084"/>
            <a:ext cx="10363200" cy="91440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09DF341-20B3-E346-8FF0-76CE642F7534}"/>
              </a:ext>
            </a:extLst>
          </p:cNvPr>
          <p:cNvSpPr>
            <a:spLocks noGrp="1"/>
          </p:cNvSpPr>
          <p:nvPr>
            <p:ph type="body" idx="28" hasCustomPrompt="1"/>
          </p:nvPr>
        </p:nvSpPr>
        <p:spPr>
          <a:xfrm>
            <a:off x="914400" y="482708"/>
            <a:ext cx="10363200" cy="451948"/>
          </a:xfrm>
        </p:spPr>
        <p:txBody>
          <a:bodyPr anchor="t"/>
          <a:lstStyle>
            <a:lvl1pPr marL="0" indent="0" algn="ct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700" b="0" i="0">
                <a:solidFill>
                  <a:schemeClr val="accent1"/>
                </a:solidFill>
                <a:latin typeface="Franklin Gothic Demi Cond" panose="020B07060304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14430E6-55F7-9645-B1AD-7A36482991AF}"/>
              </a:ext>
            </a:extLst>
          </p:cNvPr>
          <p:cNvCxnSpPr>
            <a:cxnSpLocks/>
          </p:cNvCxnSpPr>
          <p:nvPr userDrawn="1"/>
        </p:nvCxnSpPr>
        <p:spPr>
          <a:xfrm>
            <a:off x="2199190" y="798654"/>
            <a:ext cx="7793620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85337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14400" y="923084"/>
            <a:ext cx="10363200" cy="91440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8" name="Content Placeholder 37"/>
          <p:cNvSpPr>
            <a:spLocks noGrp="1"/>
          </p:cNvSpPr>
          <p:nvPr>
            <p:ph sz="quarter" idx="15"/>
          </p:nvPr>
        </p:nvSpPr>
        <p:spPr>
          <a:xfrm>
            <a:off x="914400" y="2083443"/>
            <a:ext cx="6705600" cy="361998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0" name="Content Placeholder 37"/>
          <p:cNvSpPr>
            <a:spLocks noGrp="1"/>
          </p:cNvSpPr>
          <p:nvPr>
            <p:ph sz="quarter" idx="17"/>
          </p:nvPr>
        </p:nvSpPr>
        <p:spPr>
          <a:xfrm>
            <a:off x="8229600" y="2083443"/>
            <a:ext cx="3048000" cy="361998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Text Placeholder 2"/>
          <p:cNvSpPr>
            <a:spLocks noGrp="1"/>
          </p:cNvSpPr>
          <p:nvPr>
            <p:ph type="body" idx="28" hasCustomPrompt="1"/>
          </p:nvPr>
        </p:nvSpPr>
        <p:spPr>
          <a:xfrm>
            <a:off x="914400" y="482708"/>
            <a:ext cx="10363200" cy="451948"/>
          </a:xfrm>
        </p:spPr>
        <p:txBody>
          <a:bodyPr anchor="t"/>
          <a:lstStyle>
            <a:lvl1pPr marL="0" indent="0" algn="ct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700" b="0" i="0">
                <a:solidFill>
                  <a:schemeClr val="accent1"/>
                </a:solidFill>
                <a:latin typeface="Franklin Gothic Demi Cond" panose="020B07060304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2AC143F5-5835-FF41-B347-AE8DD6C232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4400" y="6428256"/>
            <a:ext cx="6705600" cy="167931"/>
          </a:xfrm>
        </p:spPr>
        <p:txBody>
          <a:bodyPr wrap="square" anchor="b">
            <a:spAutoFit/>
          </a:bodyPr>
          <a:lstStyle>
            <a:lvl1pPr>
              <a:defRPr sz="1000" i="0" baseline="0">
                <a:solidFill>
                  <a:schemeClr val="bg2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insert source or footer information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7578496-797C-6A44-9F2A-6548E9769A5E}"/>
              </a:ext>
            </a:extLst>
          </p:cNvPr>
          <p:cNvCxnSpPr>
            <a:cxnSpLocks/>
          </p:cNvCxnSpPr>
          <p:nvPr userDrawn="1"/>
        </p:nvCxnSpPr>
        <p:spPr>
          <a:xfrm>
            <a:off x="2199190" y="798654"/>
            <a:ext cx="7793620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560963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: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Content Placeholder 37"/>
          <p:cNvSpPr>
            <a:spLocks noGrp="1"/>
          </p:cNvSpPr>
          <p:nvPr>
            <p:ph sz="quarter" idx="15"/>
          </p:nvPr>
        </p:nvSpPr>
        <p:spPr>
          <a:xfrm>
            <a:off x="914400" y="2057400"/>
            <a:ext cx="3048000" cy="36576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0" name="Content Placeholder 37"/>
          <p:cNvSpPr>
            <a:spLocks noGrp="1"/>
          </p:cNvSpPr>
          <p:nvPr>
            <p:ph sz="quarter" idx="17"/>
          </p:nvPr>
        </p:nvSpPr>
        <p:spPr>
          <a:xfrm>
            <a:off x="4572000" y="2057400"/>
            <a:ext cx="6705600" cy="36576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8B87FA64-9DF7-8D4F-AF09-1AB2C5A5FA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4400" y="6428256"/>
            <a:ext cx="6705600" cy="167931"/>
          </a:xfrm>
        </p:spPr>
        <p:txBody>
          <a:bodyPr wrap="square" anchor="b">
            <a:spAutoFit/>
          </a:bodyPr>
          <a:lstStyle>
            <a:lvl1pPr>
              <a:defRPr sz="1000" i="0" baseline="0">
                <a:solidFill>
                  <a:schemeClr val="bg2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insert source or footer information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C2948ED-1B22-8845-A0B4-BB068DE3F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923084"/>
            <a:ext cx="10363200" cy="91440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5BAACCF-3F9D-8B43-96E7-088709E24324}"/>
              </a:ext>
            </a:extLst>
          </p:cNvPr>
          <p:cNvSpPr>
            <a:spLocks noGrp="1"/>
          </p:cNvSpPr>
          <p:nvPr>
            <p:ph type="body" idx="28" hasCustomPrompt="1"/>
          </p:nvPr>
        </p:nvSpPr>
        <p:spPr>
          <a:xfrm>
            <a:off x="914400" y="482708"/>
            <a:ext cx="10363200" cy="451948"/>
          </a:xfrm>
        </p:spPr>
        <p:txBody>
          <a:bodyPr anchor="t"/>
          <a:lstStyle>
            <a:lvl1pPr marL="0" indent="0" algn="ct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700" b="0" i="0">
                <a:solidFill>
                  <a:schemeClr val="accent1"/>
                </a:solidFill>
                <a:latin typeface="Franklin Gothic Demi Cond" panose="020B07060304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30C6B5-36C4-2B45-81A5-1AEAF187248E}"/>
              </a:ext>
            </a:extLst>
          </p:cNvPr>
          <p:cNvCxnSpPr>
            <a:cxnSpLocks/>
          </p:cNvCxnSpPr>
          <p:nvPr userDrawn="1"/>
        </p:nvCxnSpPr>
        <p:spPr>
          <a:xfrm>
            <a:off x="2199190" y="798654"/>
            <a:ext cx="7793620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17541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Content Placeholder 37"/>
          <p:cNvSpPr>
            <a:spLocks noGrp="1"/>
          </p:cNvSpPr>
          <p:nvPr>
            <p:ph sz="quarter" idx="15"/>
          </p:nvPr>
        </p:nvSpPr>
        <p:spPr>
          <a:xfrm>
            <a:off x="914400" y="2057400"/>
            <a:ext cx="3048000" cy="3657600"/>
          </a:xfrm>
        </p:spPr>
        <p:txBody>
          <a:bodyPr/>
          <a:lstStyle>
            <a:lvl4pPr>
              <a:spcAft>
                <a:spcPts val="600"/>
              </a:spcAft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9" name="Content Placeholder 37"/>
          <p:cNvSpPr>
            <a:spLocks noGrp="1"/>
          </p:cNvSpPr>
          <p:nvPr>
            <p:ph sz="quarter" idx="16"/>
          </p:nvPr>
        </p:nvSpPr>
        <p:spPr>
          <a:xfrm>
            <a:off x="4572000" y="2057400"/>
            <a:ext cx="3048000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0" name="Content Placeholder 37"/>
          <p:cNvSpPr>
            <a:spLocks noGrp="1"/>
          </p:cNvSpPr>
          <p:nvPr>
            <p:ph sz="quarter" idx="17"/>
          </p:nvPr>
        </p:nvSpPr>
        <p:spPr>
          <a:xfrm>
            <a:off x="8229600" y="2057400"/>
            <a:ext cx="3048000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0E5114E4-6AB8-AA4F-A8E8-C54E55AA61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4400" y="6428256"/>
            <a:ext cx="6705600" cy="167931"/>
          </a:xfrm>
        </p:spPr>
        <p:txBody>
          <a:bodyPr wrap="square" anchor="b">
            <a:spAutoFit/>
          </a:bodyPr>
          <a:lstStyle>
            <a:lvl1pPr>
              <a:defRPr sz="1000" i="0" baseline="0">
                <a:solidFill>
                  <a:schemeClr val="bg2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insert source or footer information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0D43117-3128-D24E-806D-357156928F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923084"/>
            <a:ext cx="10363200" cy="91440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030A223-6475-C340-ACC1-06799CD611C8}"/>
              </a:ext>
            </a:extLst>
          </p:cNvPr>
          <p:cNvSpPr>
            <a:spLocks noGrp="1"/>
          </p:cNvSpPr>
          <p:nvPr>
            <p:ph type="body" idx="28" hasCustomPrompt="1"/>
          </p:nvPr>
        </p:nvSpPr>
        <p:spPr>
          <a:xfrm>
            <a:off x="914400" y="482708"/>
            <a:ext cx="10363200" cy="451948"/>
          </a:xfrm>
        </p:spPr>
        <p:txBody>
          <a:bodyPr anchor="t"/>
          <a:lstStyle>
            <a:lvl1pPr marL="0" indent="0" algn="ct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700" b="0" i="0">
                <a:solidFill>
                  <a:schemeClr val="accent1"/>
                </a:solidFill>
                <a:latin typeface="Franklin Gothic Demi Cond" panose="020B07060304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9C8E98D-8F15-4247-8D5D-7D5CD99265DE}"/>
              </a:ext>
            </a:extLst>
          </p:cNvPr>
          <p:cNvCxnSpPr>
            <a:cxnSpLocks/>
          </p:cNvCxnSpPr>
          <p:nvPr userDrawn="1"/>
        </p:nvCxnSpPr>
        <p:spPr>
          <a:xfrm>
            <a:off x="2199190" y="798654"/>
            <a:ext cx="7793620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28760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6ADF050F-4B96-8F47-9ED5-126B6BB4A7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4400" y="6428256"/>
            <a:ext cx="6705600" cy="167931"/>
          </a:xfrm>
        </p:spPr>
        <p:txBody>
          <a:bodyPr wrap="square" anchor="b">
            <a:spAutoFit/>
          </a:bodyPr>
          <a:lstStyle>
            <a:lvl1pPr>
              <a:defRPr sz="1000" i="0" baseline="0">
                <a:solidFill>
                  <a:schemeClr val="bg2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insert source or footer information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9559F6DB-F72B-CD48-A567-A92CD37A81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923084"/>
            <a:ext cx="10363200" cy="91440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ACC2408-BEEC-F148-B9BC-F196717E8C05}"/>
              </a:ext>
            </a:extLst>
          </p:cNvPr>
          <p:cNvSpPr>
            <a:spLocks noGrp="1"/>
          </p:cNvSpPr>
          <p:nvPr>
            <p:ph type="body" idx="28" hasCustomPrompt="1"/>
          </p:nvPr>
        </p:nvSpPr>
        <p:spPr>
          <a:xfrm>
            <a:off x="914400" y="482708"/>
            <a:ext cx="10363200" cy="451948"/>
          </a:xfrm>
        </p:spPr>
        <p:txBody>
          <a:bodyPr anchor="t"/>
          <a:lstStyle>
            <a:lvl1pPr marL="0" indent="0" algn="ct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700" b="0" i="0">
                <a:solidFill>
                  <a:schemeClr val="accent1"/>
                </a:solidFill>
                <a:latin typeface="Franklin Gothic Demi Cond" panose="020B07060304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F0E6F19-B158-8F4A-A1E8-F43562F62F56}"/>
              </a:ext>
            </a:extLst>
          </p:cNvPr>
          <p:cNvCxnSpPr>
            <a:cxnSpLocks/>
          </p:cNvCxnSpPr>
          <p:nvPr userDrawn="1"/>
        </p:nvCxnSpPr>
        <p:spPr>
          <a:xfrm>
            <a:off x="2199190" y="798654"/>
            <a:ext cx="7793620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696783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hart Placeholder 3"/>
          <p:cNvSpPr>
            <a:spLocks noGrp="1"/>
          </p:cNvSpPr>
          <p:nvPr userDrawn="1">
            <p:ph type="chart" sz="quarter" idx="29" hasCustomPrompt="1"/>
          </p:nvPr>
        </p:nvSpPr>
        <p:spPr>
          <a:xfrm>
            <a:off x="914400" y="2057400"/>
            <a:ext cx="10363200" cy="40005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chart from template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2D528D74-618E-334B-87B7-D7EDA262D7C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4400" y="6428256"/>
            <a:ext cx="6705600" cy="167931"/>
          </a:xfrm>
        </p:spPr>
        <p:txBody>
          <a:bodyPr wrap="square" anchor="b">
            <a:spAutoFit/>
          </a:bodyPr>
          <a:lstStyle>
            <a:lvl1pPr>
              <a:defRPr sz="1000" i="0" baseline="0">
                <a:solidFill>
                  <a:schemeClr val="bg2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insert source or footer information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CB7DC360-7098-D941-A67E-D28011BF65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923084"/>
            <a:ext cx="10363200" cy="91440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745434D-4ACA-7B4C-A494-98A8512F0FAB}"/>
              </a:ext>
            </a:extLst>
          </p:cNvPr>
          <p:cNvSpPr>
            <a:spLocks noGrp="1"/>
          </p:cNvSpPr>
          <p:nvPr>
            <p:ph type="body" idx="28" hasCustomPrompt="1"/>
          </p:nvPr>
        </p:nvSpPr>
        <p:spPr>
          <a:xfrm>
            <a:off x="914400" y="482708"/>
            <a:ext cx="10363200" cy="451948"/>
          </a:xfrm>
        </p:spPr>
        <p:txBody>
          <a:bodyPr anchor="t"/>
          <a:lstStyle>
            <a:lvl1pPr marL="0" indent="0" algn="ct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700" b="0" i="0">
                <a:solidFill>
                  <a:schemeClr val="accent1"/>
                </a:solidFill>
                <a:latin typeface="Franklin Gothic Demi Cond" panose="020B07060304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6BFCA18-7E9E-E74A-833D-B47F23A04116}"/>
              </a:ext>
            </a:extLst>
          </p:cNvPr>
          <p:cNvCxnSpPr>
            <a:cxnSpLocks/>
          </p:cNvCxnSpPr>
          <p:nvPr userDrawn="1"/>
        </p:nvCxnSpPr>
        <p:spPr>
          <a:xfrm>
            <a:off x="2199190" y="798654"/>
            <a:ext cx="7793620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43015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75D0418A-ADC7-7C49-8916-57C1A6D29F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4400" y="6428256"/>
            <a:ext cx="6705600" cy="167931"/>
          </a:xfrm>
        </p:spPr>
        <p:txBody>
          <a:bodyPr wrap="square" anchor="b">
            <a:spAutoFit/>
          </a:bodyPr>
          <a:lstStyle>
            <a:lvl1pPr>
              <a:defRPr sz="1000" i="0" baseline="0">
                <a:solidFill>
                  <a:schemeClr val="bg2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insert source or footer information</a:t>
            </a:r>
          </a:p>
        </p:txBody>
      </p:sp>
    </p:spTree>
    <p:extLst>
      <p:ext uri="{BB962C8B-B14F-4D97-AF65-F5344CB8AC3E}">
        <p14:creationId xmlns:p14="http://schemas.microsoft.com/office/powerpoint/2010/main" val="29028204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7E44052-DB06-4B55-9B16-66D849C13C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3115022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8" name="think-cell Slide" r:id="rId19" imgW="383" imgH="384" progId="TCLayout.ActiveDocument.1">
                  <p:embed/>
                </p:oleObj>
              </mc:Choice>
              <mc:Fallback>
                <p:oleObj name="think-cell Slide" r:id="rId19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74062D1-3CA8-4505-B8A6-F21BD16CA424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solidFill>
                <a:schemeClr val="bg1"/>
              </a:solidFill>
              <a:latin typeface="Franklin Gothic Book" panose="020B0503020102020204" pitchFamily="34" charset="0"/>
              <a:ea typeface="+mj-ea"/>
              <a:cs typeface="+mj-cs"/>
              <a:sym typeface="Franklin Gothic Book" panose="020B05030201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4400" y="668437"/>
            <a:ext cx="10363200" cy="91440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1782501"/>
            <a:ext cx="10363200" cy="440198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7772971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8" r:id="rId2"/>
    <p:sldLayoutId id="2147483655" r:id="rId3"/>
    <p:sldLayoutId id="2147483652" r:id="rId4"/>
    <p:sldLayoutId id="2147483654" r:id="rId5"/>
    <p:sldLayoutId id="2147483651" r:id="rId6"/>
    <p:sldLayoutId id="2147483659" r:id="rId7"/>
    <p:sldLayoutId id="2147483660" r:id="rId8"/>
    <p:sldLayoutId id="2147483661" r:id="rId9"/>
    <p:sldLayoutId id="2147483665" r:id="rId10"/>
    <p:sldLayoutId id="2147483666" r:id="rId11"/>
    <p:sldLayoutId id="2147483663" r:id="rId12"/>
    <p:sldLayoutId id="2147483664" r:id="rId13"/>
    <p:sldLayoutId id="2147483656" r:id="rId14"/>
  </p:sldLayoutIdLst>
  <p:hf sldNum="0" hdr="0" dt="0"/>
  <p:txStyles>
    <p:titleStyle>
      <a:lvl1pPr algn="ctr" defTabSz="914400" rtl="0" eaLnBrk="1" latinLnBrk="0" hangingPunct="1">
        <a:lnSpc>
          <a:spcPct val="85000"/>
        </a:lnSpc>
        <a:spcBef>
          <a:spcPct val="0"/>
        </a:spcBef>
        <a:buNone/>
        <a:defRPr sz="4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1200"/>
        </a:spcAft>
        <a:buFont typeface="Arial" panose="020B0604020202020204" pitchFamily="34" charset="0"/>
        <a:buChar char="​"/>
        <a:defRPr sz="2400" b="0" i="1" kern="1200">
          <a:solidFill>
            <a:schemeClr val="accent1"/>
          </a:solidFill>
          <a:latin typeface="Georgia" panose="02040502050405020303" pitchFamily="18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69863" indent="-1698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Wingdings" panose="05000000000000000000" pitchFamily="2" charset="2"/>
        <a:buChar char="§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346075" indent="-17621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Wingdings" panose="05000000000000000000" pitchFamily="2" charset="2"/>
        <a:buChar char="§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defRPr sz="1500" b="1" kern="1200">
          <a:solidFill>
            <a:schemeClr val="tx1"/>
          </a:solidFill>
          <a:latin typeface="+mj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sz="1500" kern="120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sz="1500" kern="1200">
          <a:solidFill>
            <a:schemeClr val="tx1"/>
          </a:solidFill>
          <a:latin typeface="+mj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sz="1500" kern="1200">
          <a:solidFill>
            <a:schemeClr val="tx1"/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76" userDrawn="1">
          <p15:clr>
            <a:srgbClr val="F26B43"/>
          </p15:clr>
        </p15:guide>
        <p15:guide id="2" pos="7104" userDrawn="1">
          <p15:clr>
            <a:srgbClr val="F26B43"/>
          </p15:clr>
        </p15:guide>
        <p15:guide id="3" orient="horz" pos="3912" userDrawn="1">
          <p15:clr>
            <a:srgbClr val="F26B43"/>
          </p15:clr>
        </p15:guide>
        <p15:guide id="4" orient="horz" pos="412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7.xml"/><Relationship Id="rId7" Type="http://schemas.openxmlformats.org/officeDocument/2006/relationships/image" Target="../media/image2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doi.org/10.4121/uuid:d06aff4b-79f0-45e6-8ec8-e19730c248f1" TargetMode="External"/><Relationship Id="rId3" Type="http://schemas.openxmlformats.org/officeDocument/2006/relationships/tags" Target="../tags/tag9.xml"/><Relationship Id="rId7" Type="http://schemas.openxmlformats.org/officeDocument/2006/relationships/image" Target="../media/image2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2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2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7.xml"/><Relationship Id="rId7" Type="http://schemas.openxmlformats.org/officeDocument/2006/relationships/image" Target="../media/image2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9.xml"/><Relationship Id="rId7" Type="http://schemas.openxmlformats.org/officeDocument/2006/relationships/image" Target="../media/image2.emf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8A2FD07-F842-4406-A055-A1D45309920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42106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6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C2C676C-1E26-4BDF-9E89-12B1975A299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5500" b="1" dirty="0">
              <a:solidFill>
                <a:schemeClr val="bg1"/>
              </a:solidFill>
              <a:latin typeface="Franklin Gothic Book" panose="020B0503020102020204" pitchFamily="34" charset="0"/>
              <a:ea typeface="+mj-ea"/>
              <a:cs typeface="+mj-cs"/>
              <a:sym typeface="Franklin Gothic Book" panose="020B05030201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 Case: </a:t>
            </a:r>
            <a:br>
              <a:rPr lang="en-US" dirty="0"/>
            </a:br>
            <a:r>
              <a:rPr lang="en-US" dirty="0"/>
              <a:t> </a:t>
            </a:r>
            <a:r>
              <a:rPr lang="en-US" dirty="0" err="1"/>
              <a:t>ViVE</a:t>
            </a:r>
            <a:r>
              <a:rPr lang="en-US" dirty="0"/>
              <a:t> BI &amp; Process Intelligence</a:t>
            </a:r>
          </a:p>
        </p:txBody>
      </p:sp>
    </p:spTree>
    <p:extLst>
      <p:ext uri="{BB962C8B-B14F-4D97-AF65-F5344CB8AC3E}">
        <p14:creationId xmlns:p14="http://schemas.microsoft.com/office/powerpoint/2010/main" val="16507567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D2D704CF-F7AB-B047-9B58-7FF717053CDB}"/>
              </a:ext>
            </a:extLst>
          </p:cNvPr>
          <p:cNvPicPr>
            <a:picLocks noGrp="1"/>
          </p:cNvPicPr>
          <p:nvPr>
            <p:ph type="pic" sz="quarter" idx="15"/>
          </p:nvPr>
        </p:nvPicPr>
        <p:blipFill rotWithShape="1">
          <a:blip r:embed="rId2"/>
          <a:stretch/>
        </p:blipFill>
        <p:spPr>
          <a:xfrm>
            <a:off x="0" y="487680"/>
            <a:ext cx="12192000" cy="5882639"/>
          </a:xfrm>
          <a:prstGeom prst="rect">
            <a:avLst/>
          </a:prstGeom>
          <a:noFill/>
        </p:spPr>
      </p:pic>
      <p:sp>
        <p:nvSpPr>
          <p:cNvPr id="12" name="Title 2">
            <a:extLst>
              <a:ext uri="{FF2B5EF4-FFF2-40B4-BE49-F238E27FC236}">
                <a16:creationId xmlns:a16="http://schemas.microsoft.com/office/drawing/2014/main" id="{501E92C8-6CBF-4D5A-89DF-C04A89CA60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9673" y="1905001"/>
            <a:ext cx="10375675" cy="2225262"/>
          </a:xfrm>
        </p:spPr>
        <p:txBody>
          <a:bodyPr/>
          <a:lstStyle/>
          <a:p>
            <a:endParaRPr lang="en-US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B3ECA991-295B-4F48-8427-F9F5277AE4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9605" y="4620890"/>
            <a:ext cx="10377927" cy="1415772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20964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4AE8A54D-2DBE-984A-9B4A-6EEE9B94D77E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0" y="792482"/>
            <a:ext cx="12192000" cy="5273036"/>
          </a:xfrm>
          <a:prstGeom prst="rect">
            <a:avLst/>
          </a:prstGeom>
          <a:noFill/>
        </p:spPr>
      </p:pic>
      <p:sp>
        <p:nvSpPr>
          <p:cNvPr id="19" name="Title 2">
            <a:extLst>
              <a:ext uri="{FF2B5EF4-FFF2-40B4-BE49-F238E27FC236}">
                <a16:creationId xmlns:a16="http://schemas.microsoft.com/office/drawing/2014/main" id="{C7F639A8-D66E-4776-8BE9-E6C9137546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9673" y="1905001"/>
            <a:ext cx="10375675" cy="2225262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157A214B-FE3F-4AC4-BD21-F2CCD98A49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9605" y="4620890"/>
            <a:ext cx="10377927" cy="1415772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859648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7F09989B-E93F-D843-9DB4-21F799108C7B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0" y="548640"/>
            <a:ext cx="12192000" cy="5760720"/>
          </a:xfrm>
          <a:prstGeom prst="rect">
            <a:avLst/>
          </a:prstGeom>
          <a:noFill/>
        </p:spPr>
      </p:pic>
      <p:sp>
        <p:nvSpPr>
          <p:cNvPr id="21" name="Title 2">
            <a:extLst>
              <a:ext uri="{FF2B5EF4-FFF2-40B4-BE49-F238E27FC236}">
                <a16:creationId xmlns:a16="http://schemas.microsoft.com/office/drawing/2014/main" id="{6DF4A74B-CB34-4AE7-814D-755A4427BB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9673" y="1905001"/>
            <a:ext cx="10375675" cy="2225262"/>
          </a:xfrm>
        </p:spPr>
        <p:txBody>
          <a:bodyPr/>
          <a:lstStyle/>
          <a:p>
            <a:endParaRPr lang="en-US"/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B65FDB32-5CCD-4604-ABF4-DCA2132AD7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9605" y="4620890"/>
            <a:ext cx="10377927" cy="1415772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704933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Graphical user interface, application, Teams&#10;&#10;Description automatically generated">
            <a:extLst>
              <a:ext uri="{FF2B5EF4-FFF2-40B4-BE49-F238E27FC236}">
                <a16:creationId xmlns:a16="http://schemas.microsoft.com/office/drawing/2014/main" id="{F8129ECF-109A-6345-B8DE-A39F631C5EA0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0" y="350520"/>
            <a:ext cx="12192000" cy="6156959"/>
          </a:xfrm>
          <a:prstGeom prst="rect">
            <a:avLst/>
          </a:prstGeom>
          <a:noFill/>
        </p:spPr>
      </p:pic>
      <p:sp>
        <p:nvSpPr>
          <p:cNvPr id="10" name="Title 2">
            <a:extLst>
              <a:ext uri="{FF2B5EF4-FFF2-40B4-BE49-F238E27FC236}">
                <a16:creationId xmlns:a16="http://schemas.microsoft.com/office/drawing/2014/main" id="{7296BA93-7448-41F3-981A-CF41175878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9673" y="1905001"/>
            <a:ext cx="10375675" cy="2225262"/>
          </a:xfrm>
        </p:spPr>
        <p:txBody>
          <a:bodyPr/>
          <a:lstStyle/>
          <a:p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2295395-7CE5-4019-B17A-402BD9654B4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9605" y="4620890"/>
            <a:ext cx="10377927" cy="1415772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65259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Diagram&#10;&#10;Description automatically generated">
            <a:extLst>
              <a:ext uri="{FF2B5EF4-FFF2-40B4-BE49-F238E27FC236}">
                <a16:creationId xmlns:a16="http://schemas.microsoft.com/office/drawing/2014/main" id="{CBDCC7C2-70AB-E64C-9BCA-382687912017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946482" y="261813"/>
            <a:ext cx="9541126" cy="5915052"/>
          </a:xfrm>
          <a:prstGeom prst="rect">
            <a:avLst/>
          </a:prstGeom>
          <a:noFill/>
        </p:spPr>
      </p:pic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FAC65D27-53A3-4CAD-815A-B3EEC7717EA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4400" y="6428256"/>
            <a:ext cx="6705600" cy="167931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89450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3B2BFEA-448A-42D9-AC3F-319458A1155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97996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4183FEA-1CD0-44D5-B0BD-46B40CA6302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000" b="1" dirty="0">
              <a:solidFill>
                <a:schemeClr val="bg1"/>
              </a:solidFill>
              <a:latin typeface="Franklin Gothic Book" panose="020B0503020102020204" pitchFamily="34" charset="0"/>
              <a:ea typeface="+mj-ea"/>
              <a:cs typeface="+mj-cs"/>
              <a:sym typeface="Franklin Gothic Book" panose="020B05030201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 Overview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en-US" dirty="0"/>
              <a:t>Goal: Implement entire BI &amp; PI project lifecycle, culminating in building analytical reports and visualizations using </a:t>
            </a:r>
            <a:r>
              <a:rPr lang="en-US" dirty="0" err="1"/>
              <a:t>ViVE</a:t>
            </a:r>
            <a:r>
              <a:rPr lang="en-US" dirty="0"/>
              <a:t>. 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US" dirty="0"/>
              <a:t>Discuss </a:t>
            </a:r>
            <a:r>
              <a:rPr lang="en-US" dirty="0" err="1"/>
              <a:t>ViVE</a:t>
            </a:r>
            <a:r>
              <a:rPr lang="en-US" dirty="0"/>
              <a:t> uses for dataset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US" dirty="0"/>
              <a:t>Plan, build, test and deploy phase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US" dirty="0"/>
              <a:t>Demonstrate use of BI and PI dashboards in </a:t>
            </a:r>
            <a:r>
              <a:rPr lang="en-US" dirty="0" err="1"/>
              <a:t>ViVE</a:t>
            </a:r>
            <a:endParaRPr lang="en-US" dirty="0"/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US" dirty="0"/>
              <a:t>Insights and Takeaway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B19AACF-7B35-8340-8D31-8C291A22ECE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FB98741-0566-4056-935B-47BD6CCC8B6A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836" r="64623"/>
          <a:stretch/>
        </p:blipFill>
        <p:spPr>
          <a:xfrm>
            <a:off x="8246852" y="1944454"/>
            <a:ext cx="2842717" cy="37589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58794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D7953FA-2A70-46C8-BCB0-12A367E636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0752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A446B3A-47E4-400A-875D-6C435A6155B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000" b="1" dirty="0">
              <a:solidFill>
                <a:schemeClr val="bg1"/>
              </a:solidFill>
              <a:latin typeface="Franklin Gothic Book" panose="020B0503020102020204" pitchFamily="34" charset="0"/>
              <a:ea typeface="+mj-ea"/>
              <a:cs typeface="+mj-cs"/>
              <a:sym typeface="Franklin Gothic Book" panose="020B0503020102020204" pitchFamily="34" charset="0"/>
            </a:endParaRPr>
          </a:p>
        </p:txBody>
      </p:sp>
      <p:sp>
        <p:nvSpPr>
          <p:cNvPr id="24" name="Text Placeholder 23"/>
          <p:cNvSpPr>
            <a:spLocks noGrp="1"/>
          </p:cNvSpPr>
          <p:nvPr>
            <p:ph type="body" idx="14"/>
          </p:nvPr>
        </p:nvSpPr>
        <p:spPr>
          <a:xfrm>
            <a:off x="914400" y="5781862"/>
            <a:ext cx="6705600" cy="814325"/>
          </a:xfrm>
        </p:spPr>
        <p:txBody>
          <a:bodyPr/>
          <a:lstStyle/>
          <a:p>
            <a:pPr lvl="2"/>
            <a:r>
              <a:rPr lang="en-US" sz="1600" dirty="0"/>
              <a:t>van </a:t>
            </a:r>
            <a:r>
              <a:rPr lang="en-US" sz="1600" dirty="0" err="1"/>
              <a:t>Dongen</a:t>
            </a:r>
            <a:r>
              <a:rPr lang="en-US" sz="1600" dirty="0"/>
              <a:t>, B.F., Dataset BPI Challenge 2019. 4TU.Centre for Research Data. </a:t>
            </a:r>
            <a:r>
              <a:rPr lang="en-US" sz="1600" u="sng" dirty="0"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oi.org/10.4121/uuid:d06aff4b-79f0-45e6-8ec8-e19730c248f1</a:t>
            </a:r>
            <a:endParaRPr lang="en-US" sz="1600" dirty="0"/>
          </a:p>
          <a:p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914400" y="1038043"/>
            <a:ext cx="10363200" cy="914402"/>
          </a:xfrm>
        </p:spPr>
        <p:txBody>
          <a:bodyPr/>
          <a:lstStyle/>
          <a:p>
            <a:r>
              <a:rPr lang="en-US" dirty="0"/>
              <a:t>Dataset: Purchase Order Handling Proces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D02C4B4-CF52-4769-BA36-555AABF4DB64}"/>
              </a:ext>
            </a:extLst>
          </p:cNvPr>
          <p:cNvSpPr/>
          <p:nvPr/>
        </p:nvSpPr>
        <p:spPr>
          <a:xfrm>
            <a:off x="8105939" y="1952445"/>
            <a:ext cx="3200400" cy="32004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8600" tIns="228600" rIns="228600" bIns="228600" rtlCol="0" anchor="ctr">
            <a:noAutofit/>
          </a:bodyPr>
          <a:lstStyle/>
          <a:p>
            <a:pPr algn="ctr"/>
            <a:endParaRPr lang="en-US" sz="1400" dirty="0">
              <a:solidFill>
                <a:schemeClr val="bg1"/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E66C4B04-1C19-4125-A53A-6DE3CDAB365C}"/>
              </a:ext>
            </a:extLst>
          </p:cNvPr>
          <p:cNvSpPr/>
          <p:nvPr/>
        </p:nvSpPr>
        <p:spPr>
          <a:xfrm>
            <a:off x="8134678" y="2898620"/>
            <a:ext cx="3200400" cy="130805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5500" b="1" dirty="0">
                <a:solidFill>
                  <a:schemeClr val="bg1"/>
                </a:solidFill>
              </a:rPr>
              <a:t>1.5 million</a:t>
            </a:r>
            <a:r>
              <a:rPr lang="en-US" sz="4500" b="1" dirty="0">
                <a:solidFill>
                  <a:schemeClr val="bg1"/>
                </a:solidFill>
              </a:rPr>
              <a:t> </a:t>
            </a:r>
            <a:r>
              <a:rPr lang="en-US" sz="3000" dirty="0">
                <a:solidFill>
                  <a:schemeClr val="bg1"/>
                </a:solidFill>
              </a:rPr>
              <a:t>events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028C4CD2-84E6-4588-98BC-DBBB5EC6220B}"/>
              </a:ext>
            </a:extLst>
          </p:cNvPr>
          <p:cNvSpPr/>
          <p:nvPr/>
        </p:nvSpPr>
        <p:spPr>
          <a:xfrm>
            <a:off x="2990662" y="2181045"/>
            <a:ext cx="1828800" cy="18288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8600" tIns="228600" rIns="228600" bIns="228600" rtlCol="0" anchor="ctr">
            <a:noAutofit/>
          </a:bodyPr>
          <a:lstStyle/>
          <a:p>
            <a:pPr algn="ctr"/>
            <a:endParaRPr lang="en-US" sz="1400" dirty="0">
              <a:solidFill>
                <a:schemeClr val="bg1"/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76155028-7810-40E5-A5CF-CFB7EB42257E}"/>
              </a:ext>
            </a:extLst>
          </p:cNvPr>
          <p:cNvSpPr/>
          <p:nvPr/>
        </p:nvSpPr>
        <p:spPr>
          <a:xfrm>
            <a:off x="2961923" y="2562105"/>
            <a:ext cx="1828800" cy="100027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400" b="1" dirty="0">
                <a:solidFill>
                  <a:schemeClr val="bg1"/>
                </a:solidFill>
              </a:rPr>
              <a:t>75,000</a:t>
            </a:r>
          </a:p>
          <a:p>
            <a:pPr algn="ctr"/>
            <a:r>
              <a:rPr lang="en-US" sz="2000" dirty="0">
                <a:solidFill>
                  <a:schemeClr val="bg1"/>
                </a:solidFill>
              </a:rPr>
              <a:t>purchase orders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D4E24787-23EA-4543-9AA0-22AF12A8DAD7}"/>
              </a:ext>
            </a:extLst>
          </p:cNvPr>
          <p:cNvSpPr/>
          <p:nvPr/>
        </p:nvSpPr>
        <p:spPr>
          <a:xfrm>
            <a:off x="5305331" y="1952445"/>
            <a:ext cx="2286000" cy="22860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8600" tIns="228600" rIns="228600" bIns="228600" rtlCol="0" anchor="ctr">
            <a:noAutofit/>
          </a:bodyPr>
          <a:lstStyle/>
          <a:p>
            <a:pPr algn="ctr"/>
            <a:endParaRPr lang="en-US" sz="1400" dirty="0">
              <a:solidFill>
                <a:schemeClr val="bg1"/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B774B9AF-6ACE-4514-AB41-D314C58C1D2E}"/>
              </a:ext>
            </a:extLst>
          </p:cNvPr>
          <p:cNvSpPr/>
          <p:nvPr/>
        </p:nvSpPr>
        <p:spPr>
          <a:xfrm>
            <a:off x="5329128" y="2611854"/>
            <a:ext cx="2238405" cy="106182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500" b="1" dirty="0">
                <a:solidFill>
                  <a:schemeClr val="bg1"/>
                </a:solidFill>
              </a:rPr>
              <a:t>250,000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2400" dirty="0">
                <a:solidFill>
                  <a:schemeClr val="bg1"/>
                </a:solidFill>
              </a:rPr>
              <a:t>items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CE17B065-EFBB-4DA5-A56B-2DE5F7CA2E5D}"/>
              </a:ext>
            </a:extLst>
          </p:cNvPr>
          <p:cNvSpPr/>
          <p:nvPr/>
        </p:nvSpPr>
        <p:spPr>
          <a:xfrm>
            <a:off x="1032058" y="2383704"/>
            <a:ext cx="1371600" cy="13716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8600" tIns="228600" rIns="228600" bIns="228600" rtlCol="0" anchor="ctr">
            <a:noAutofit/>
          </a:bodyPr>
          <a:lstStyle/>
          <a:p>
            <a:pPr algn="ctr"/>
            <a:endParaRPr lang="en-US" sz="1400" dirty="0">
              <a:solidFill>
                <a:schemeClr val="bg1"/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11E63493-FF93-467A-95A9-C010E2FF7379}"/>
              </a:ext>
            </a:extLst>
          </p:cNvPr>
          <p:cNvSpPr/>
          <p:nvPr/>
        </p:nvSpPr>
        <p:spPr>
          <a:xfrm>
            <a:off x="1003319" y="2552371"/>
            <a:ext cx="1371600" cy="100027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500" b="1" dirty="0">
                <a:solidFill>
                  <a:schemeClr val="bg1"/>
                </a:solidFill>
              </a:rPr>
              <a:t>42</a:t>
            </a:r>
          </a:p>
          <a:p>
            <a:pPr algn="ctr"/>
            <a:r>
              <a:rPr lang="en-US" sz="2000" dirty="0">
                <a:solidFill>
                  <a:schemeClr val="bg1"/>
                </a:solidFill>
              </a:rPr>
              <a:t>activiti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F15B438-FEE4-490D-85FA-FE468E8B88C2}"/>
              </a:ext>
            </a:extLst>
          </p:cNvPr>
          <p:cNvSpPr/>
          <p:nvPr/>
        </p:nvSpPr>
        <p:spPr>
          <a:xfrm>
            <a:off x="1012513" y="4438229"/>
            <a:ext cx="6923789" cy="1000274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8600" tIns="228600" rIns="228600" bIns="228600" rtlCol="0" anchor="ctr">
            <a:noAutofit/>
          </a:bodyPr>
          <a:lstStyle/>
          <a:p>
            <a:pPr algn="ctr"/>
            <a:endParaRPr lang="en-US" sz="1400" dirty="0">
              <a:solidFill>
                <a:schemeClr val="bg1"/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CDBD374-5AB6-4266-80FA-940FE2D9F490}"/>
              </a:ext>
            </a:extLst>
          </p:cNvPr>
          <p:cNvSpPr/>
          <p:nvPr/>
        </p:nvSpPr>
        <p:spPr>
          <a:xfrm>
            <a:off x="1133122" y="4594521"/>
            <a:ext cx="6682409" cy="67710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400" b="1" dirty="0">
                <a:solidFill>
                  <a:schemeClr val="bg1"/>
                </a:solidFill>
              </a:rPr>
              <a:t>4 payment flows</a:t>
            </a:r>
            <a:endParaRPr lang="en-US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7532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3B2BFEA-448A-42D9-AC3F-319458A1155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2001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9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3B2BFEA-448A-42D9-AC3F-319458A11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4183FEA-1CD0-44D5-B0BD-46B40CA6302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000" b="1" dirty="0">
              <a:solidFill>
                <a:schemeClr val="bg1"/>
              </a:solidFill>
              <a:latin typeface="Franklin Gothic Book" panose="020B0503020102020204" pitchFamily="34" charset="0"/>
              <a:ea typeface="+mj-ea"/>
              <a:cs typeface="+mj-cs"/>
              <a:sym typeface="Franklin Gothic Book" panose="020B05030201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yment Process Flow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B19AACF-7B35-8340-8D31-8C291A22ECE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6" name="Table 7">
            <a:extLst>
              <a:ext uri="{FF2B5EF4-FFF2-40B4-BE49-F238E27FC236}">
                <a16:creationId xmlns:a16="http://schemas.microsoft.com/office/drawing/2014/main" id="{0877EA29-4766-4537-8DC7-9F870D9B9BB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0745726"/>
              </p:ext>
            </p:extLst>
          </p:nvPr>
        </p:nvGraphicFramePr>
        <p:xfrm>
          <a:off x="1187570" y="1733263"/>
          <a:ext cx="9816860" cy="39761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65784">
                  <a:extLst>
                    <a:ext uri="{9D8B030D-6E8A-4147-A177-3AD203B41FA5}">
                      <a16:colId xmlns:a16="http://schemas.microsoft.com/office/drawing/2014/main" val="4034279548"/>
                    </a:ext>
                  </a:extLst>
                </a:gridCol>
                <a:gridCol w="1359877">
                  <a:extLst>
                    <a:ext uri="{9D8B030D-6E8A-4147-A177-3AD203B41FA5}">
                      <a16:colId xmlns:a16="http://schemas.microsoft.com/office/drawing/2014/main" val="492288546"/>
                    </a:ext>
                  </a:extLst>
                </a:gridCol>
                <a:gridCol w="2408255">
                  <a:extLst>
                    <a:ext uri="{9D8B030D-6E8A-4147-A177-3AD203B41FA5}">
                      <a16:colId xmlns:a16="http://schemas.microsoft.com/office/drawing/2014/main" val="4154463678"/>
                    </a:ext>
                  </a:extLst>
                </a:gridCol>
                <a:gridCol w="2382944">
                  <a:extLst>
                    <a:ext uri="{9D8B030D-6E8A-4147-A177-3AD203B41FA5}">
                      <a16:colId xmlns:a16="http://schemas.microsoft.com/office/drawing/2014/main" val="502995701"/>
                    </a:ext>
                  </a:extLst>
                </a:gridCol>
              </a:tblGrid>
              <a:tr h="936575">
                <a:tc>
                  <a:txBody>
                    <a:bodyPr/>
                    <a:lstStyle/>
                    <a:p>
                      <a:r>
                        <a:rPr lang="en-US" sz="2200" dirty="0"/>
                        <a:t>Process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r>
                        <a:rPr lang="en-US" sz="2200" dirty="0"/>
                        <a:t>Invoice required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r>
                        <a:rPr lang="en-US" sz="2200" dirty="0"/>
                        <a:t>Payment based on goods receipt</a:t>
                      </a:r>
                      <a:br>
                        <a:rPr lang="en-US" sz="2200" dirty="0"/>
                      </a:br>
                      <a:r>
                        <a:rPr lang="en-US" sz="2200" dirty="0"/>
                        <a:t>(instead of invoice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r>
                        <a:rPr lang="en-US" sz="2200" dirty="0"/>
                        <a:t>Goods receipt required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2948576298"/>
                  </a:ext>
                </a:extLst>
              </a:tr>
              <a:tr h="799350">
                <a:tc>
                  <a:txBody>
                    <a:bodyPr/>
                    <a:lstStyle/>
                    <a:p>
                      <a:r>
                        <a:rPr lang="en-US" dirty="0"/>
                        <a:t>3-way match after goods receip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600" dirty="0">
                          <a:sym typeface="Wingdings" panose="05000000000000000000" pitchFamily="2" charset="2"/>
                        </a:rPr>
                        <a:t></a:t>
                      </a:r>
                      <a:endParaRPr lang="en-US" sz="3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600" dirty="0">
                          <a:sym typeface="Wingdings" panose="05000000000000000000" pitchFamily="2" charset="2"/>
                        </a:rPr>
                        <a:t></a:t>
                      </a:r>
                      <a:endParaRPr lang="en-US" sz="3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600" dirty="0">
                          <a:sym typeface="Wingdings" panose="05000000000000000000" pitchFamily="2" charset="2"/>
                        </a:rPr>
                        <a:t></a:t>
                      </a:r>
                      <a:endParaRPr lang="en-US" sz="36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47560432"/>
                  </a:ext>
                </a:extLst>
              </a:tr>
              <a:tr h="799350">
                <a:tc>
                  <a:txBody>
                    <a:bodyPr/>
                    <a:lstStyle/>
                    <a:p>
                      <a:r>
                        <a:rPr lang="en-US" dirty="0"/>
                        <a:t>3-way match before goods receip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3600" dirty="0">
                          <a:sym typeface="Wingdings" panose="05000000000000000000" pitchFamily="2" charset="2"/>
                        </a:rPr>
                        <a:t></a:t>
                      </a:r>
                      <a:endParaRPr lang="en-US" sz="3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3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600" dirty="0">
                          <a:sym typeface="Wingdings" panose="05000000000000000000" pitchFamily="2" charset="2"/>
                        </a:rPr>
                        <a:t></a:t>
                      </a:r>
                      <a:endParaRPr lang="en-US" sz="36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93187611"/>
                  </a:ext>
                </a:extLst>
              </a:tr>
              <a:tr h="625546">
                <a:tc>
                  <a:txBody>
                    <a:bodyPr/>
                    <a:lstStyle/>
                    <a:p>
                      <a:r>
                        <a:rPr lang="en-US" dirty="0"/>
                        <a:t>2-way mat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3600" dirty="0">
                          <a:sym typeface="Wingdings" panose="05000000000000000000" pitchFamily="2" charset="2"/>
                        </a:rPr>
                        <a:t></a:t>
                      </a:r>
                      <a:endParaRPr lang="en-US" sz="3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3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36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29818076"/>
                  </a:ext>
                </a:extLst>
              </a:tr>
              <a:tr h="625546">
                <a:tc>
                  <a:txBody>
                    <a:bodyPr/>
                    <a:lstStyle/>
                    <a:p>
                      <a:r>
                        <a:rPr lang="en-US" dirty="0"/>
                        <a:t>Consign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36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3600" dirty="0">
                          <a:sym typeface="Wingdings" panose="05000000000000000000" pitchFamily="2" charset="2"/>
                        </a:rPr>
                        <a:t></a:t>
                      </a:r>
                      <a:endParaRPr lang="en-US" sz="3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600" dirty="0">
                          <a:sym typeface="Wingdings" panose="05000000000000000000" pitchFamily="2" charset="2"/>
                        </a:rPr>
                        <a:t></a:t>
                      </a:r>
                      <a:endParaRPr lang="en-US" sz="36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526294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45555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D7953FA-2A70-46C8-BCB0-12A367E636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29847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3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D7953FA-2A70-46C8-BCB0-12A367E636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A446B3A-47E4-400A-875D-6C435A6155B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000" b="1" dirty="0">
              <a:solidFill>
                <a:schemeClr val="bg1"/>
              </a:solidFill>
              <a:latin typeface="Franklin Gothic Book" panose="020B0503020102020204" pitchFamily="34" charset="0"/>
              <a:ea typeface="+mj-ea"/>
              <a:cs typeface="+mj-cs"/>
              <a:sym typeface="Franklin Gothic Book" panose="020B0503020102020204" pitchFamily="34" charset="0"/>
            </a:endParaRPr>
          </a:p>
        </p:txBody>
      </p:sp>
      <p:sp>
        <p:nvSpPr>
          <p:cNvPr id="24" name="Text Placeholder 23"/>
          <p:cNvSpPr>
            <a:spLocks noGrp="1"/>
          </p:cNvSpPr>
          <p:nvPr>
            <p:ph type="body" idx="14"/>
          </p:nvPr>
        </p:nvSpPr>
        <p:spPr>
          <a:xfrm>
            <a:off x="914400" y="6417781"/>
            <a:ext cx="6705600" cy="16799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Preparation and  Process Flow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233E4AB5-6FC1-4454-9421-850EF5A4ADF3}"/>
              </a:ext>
            </a:extLst>
          </p:cNvPr>
          <p:cNvSpPr/>
          <p:nvPr/>
        </p:nvSpPr>
        <p:spPr>
          <a:xfrm>
            <a:off x="417486" y="2544982"/>
            <a:ext cx="1587500" cy="158750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40123448-0B37-4226-B26C-A3081E6142FF}"/>
              </a:ext>
            </a:extLst>
          </p:cNvPr>
          <p:cNvSpPr/>
          <p:nvPr/>
        </p:nvSpPr>
        <p:spPr>
          <a:xfrm>
            <a:off x="2803498" y="2544982"/>
            <a:ext cx="1587500" cy="158750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69943F00-C6CB-4F10-A02B-801F37984D43}"/>
              </a:ext>
            </a:extLst>
          </p:cNvPr>
          <p:cNvSpPr/>
          <p:nvPr/>
        </p:nvSpPr>
        <p:spPr>
          <a:xfrm>
            <a:off x="5256184" y="3882855"/>
            <a:ext cx="1587500" cy="1587500"/>
          </a:xfrm>
          <a:prstGeom prst="ellipse">
            <a:avLst/>
          </a:prstGeom>
          <a:solidFill>
            <a:srgbClr val="049F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91394D4E-BC7A-418D-B233-6C374456AEAE}"/>
              </a:ext>
            </a:extLst>
          </p:cNvPr>
          <p:cNvCxnSpPr>
            <a:cxnSpLocks/>
            <a:stCxn id="13" idx="6"/>
            <a:endCxn id="14" idx="2"/>
          </p:cNvCxnSpPr>
          <p:nvPr/>
        </p:nvCxnSpPr>
        <p:spPr>
          <a:xfrm>
            <a:off x="2004986" y="3338732"/>
            <a:ext cx="798512" cy="0"/>
          </a:xfrm>
          <a:prstGeom prst="straightConnector1">
            <a:avLst/>
          </a:prstGeom>
          <a:ln w="22225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9771041D-83B6-4693-BC25-25AABB3CE3BF}"/>
              </a:ext>
            </a:extLst>
          </p:cNvPr>
          <p:cNvSpPr/>
          <p:nvPr/>
        </p:nvSpPr>
        <p:spPr>
          <a:xfrm>
            <a:off x="525436" y="3215622"/>
            <a:ext cx="1371600" cy="2462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dirty="0">
                <a:solidFill>
                  <a:schemeClr val="bg1"/>
                </a:solidFill>
              </a:rPr>
              <a:t>Clean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F6EE26A-3174-49AD-900E-08C045755F3C}"/>
              </a:ext>
            </a:extLst>
          </p:cNvPr>
          <p:cNvSpPr/>
          <p:nvPr/>
        </p:nvSpPr>
        <p:spPr>
          <a:xfrm>
            <a:off x="2916210" y="3215622"/>
            <a:ext cx="1371600" cy="2462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dirty="0">
                <a:solidFill>
                  <a:schemeClr val="bg1"/>
                </a:solidFill>
              </a:rPr>
              <a:t>Build Schema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B499F5E-706B-4272-818B-C87149038662}"/>
              </a:ext>
            </a:extLst>
          </p:cNvPr>
          <p:cNvSpPr/>
          <p:nvPr/>
        </p:nvSpPr>
        <p:spPr>
          <a:xfrm>
            <a:off x="5346673" y="4410902"/>
            <a:ext cx="1371600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dirty="0">
                <a:solidFill>
                  <a:schemeClr val="bg1"/>
                </a:solidFill>
              </a:rPr>
              <a:t>Build </a:t>
            </a:r>
          </a:p>
          <a:p>
            <a:pPr algn="ctr"/>
            <a:r>
              <a:rPr lang="en-US" sz="1600" dirty="0">
                <a:solidFill>
                  <a:schemeClr val="bg1"/>
                </a:solidFill>
              </a:rPr>
              <a:t>SQL Tables 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79B46693-ED1F-429F-9B11-2794939E3B99}"/>
              </a:ext>
            </a:extLst>
          </p:cNvPr>
          <p:cNvSpPr/>
          <p:nvPr/>
        </p:nvSpPr>
        <p:spPr>
          <a:xfrm>
            <a:off x="2736823" y="4125568"/>
            <a:ext cx="1720849" cy="71134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900"/>
              </a:lnSpc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SQL Server</a:t>
            </a:r>
          </a:p>
          <a:p>
            <a:pPr algn="ctr">
              <a:lnSpc>
                <a:spcPts val="1900"/>
              </a:lnSpc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Management Studio &amp; Azure SQL Database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F8D1DEA-0363-4C10-925D-1D68E14CCEF4}"/>
              </a:ext>
            </a:extLst>
          </p:cNvPr>
          <p:cNvSpPr/>
          <p:nvPr/>
        </p:nvSpPr>
        <p:spPr>
          <a:xfrm>
            <a:off x="536945" y="4369224"/>
            <a:ext cx="1348582" cy="22403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900"/>
              </a:lnSpc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Python</a:t>
            </a: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74281597-9F01-4BA0-BC61-145B25CF0CC5}"/>
              </a:ext>
            </a:extLst>
          </p:cNvPr>
          <p:cNvSpPr/>
          <p:nvPr/>
        </p:nvSpPr>
        <p:spPr>
          <a:xfrm>
            <a:off x="5258276" y="1582988"/>
            <a:ext cx="1587500" cy="158750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C8A13FD0-A572-4521-91E6-F031686FCC64}"/>
              </a:ext>
            </a:extLst>
          </p:cNvPr>
          <p:cNvSpPr/>
          <p:nvPr/>
        </p:nvSpPr>
        <p:spPr>
          <a:xfrm>
            <a:off x="5381495" y="2253627"/>
            <a:ext cx="1371600" cy="2462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dirty="0">
                <a:solidFill>
                  <a:schemeClr val="bg1"/>
                </a:solidFill>
              </a:rPr>
              <a:t>Build  Cube 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D3D81830-CC58-4793-9D94-FFEA8BD51669}"/>
              </a:ext>
            </a:extLst>
          </p:cNvPr>
          <p:cNvSpPr/>
          <p:nvPr/>
        </p:nvSpPr>
        <p:spPr>
          <a:xfrm>
            <a:off x="5189509" y="5534574"/>
            <a:ext cx="1720849" cy="46769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900"/>
              </a:lnSpc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SQL Server</a:t>
            </a:r>
          </a:p>
          <a:p>
            <a:pPr algn="ctr">
              <a:lnSpc>
                <a:spcPts val="1900"/>
              </a:lnSpc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Management Studio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50411345-DE19-4482-8ABA-64726F285970}"/>
              </a:ext>
            </a:extLst>
          </p:cNvPr>
          <p:cNvSpPr/>
          <p:nvPr/>
        </p:nvSpPr>
        <p:spPr>
          <a:xfrm>
            <a:off x="5172048" y="3309628"/>
            <a:ext cx="1720849" cy="22403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900"/>
              </a:lnSpc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Visual Studio, SSAS</a:t>
            </a: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AA03B329-BCDB-49B4-9897-22E822243807}"/>
              </a:ext>
            </a:extLst>
          </p:cNvPr>
          <p:cNvCxnSpPr>
            <a:cxnSpLocks/>
          </p:cNvCxnSpPr>
          <p:nvPr/>
        </p:nvCxnSpPr>
        <p:spPr>
          <a:xfrm flipV="1">
            <a:off x="4373536" y="2544982"/>
            <a:ext cx="884740" cy="793750"/>
          </a:xfrm>
          <a:prstGeom prst="straightConnector1">
            <a:avLst/>
          </a:prstGeom>
          <a:ln w="22225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BDEFDECB-7594-4608-A950-732A8AC98BB7}"/>
              </a:ext>
            </a:extLst>
          </p:cNvPr>
          <p:cNvCxnSpPr>
            <a:cxnSpLocks/>
          </p:cNvCxnSpPr>
          <p:nvPr/>
        </p:nvCxnSpPr>
        <p:spPr>
          <a:xfrm>
            <a:off x="4373536" y="3338732"/>
            <a:ext cx="973137" cy="793750"/>
          </a:xfrm>
          <a:prstGeom prst="straightConnector1">
            <a:avLst/>
          </a:prstGeom>
          <a:ln w="22225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Oval 52">
            <a:extLst>
              <a:ext uri="{FF2B5EF4-FFF2-40B4-BE49-F238E27FC236}">
                <a16:creationId xmlns:a16="http://schemas.microsoft.com/office/drawing/2014/main" id="{FB26B95E-0575-4DA6-B875-F852E66FE0F2}"/>
              </a:ext>
            </a:extLst>
          </p:cNvPr>
          <p:cNvSpPr/>
          <p:nvPr/>
        </p:nvSpPr>
        <p:spPr>
          <a:xfrm>
            <a:off x="7740966" y="3890002"/>
            <a:ext cx="1587500" cy="1587500"/>
          </a:xfrm>
          <a:prstGeom prst="ellipse">
            <a:avLst/>
          </a:prstGeom>
          <a:solidFill>
            <a:srgbClr val="049F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5A83093F-A5DC-441E-B424-5B5A75186BF5}"/>
              </a:ext>
            </a:extLst>
          </p:cNvPr>
          <p:cNvSpPr/>
          <p:nvPr/>
        </p:nvSpPr>
        <p:spPr>
          <a:xfrm>
            <a:off x="7853735" y="4515668"/>
            <a:ext cx="1371600" cy="2462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dirty="0">
                <a:solidFill>
                  <a:schemeClr val="bg1"/>
                </a:solidFill>
              </a:rPr>
              <a:t>Test</a:t>
            </a: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2158565D-CF24-421F-BD5E-A69C0E4AC8FC}"/>
              </a:ext>
            </a:extLst>
          </p:cNvPr>
          <p:cNvSpPr/>
          <p:nvPr/>
        </p:nvSpPr>
        <p:spPr>
          <a:xfrm>
            <a:off x="7746414" y="1589375"/>
            <a:ext cx="1587500" cy="158750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0B109554-D89E-42A2-B485-F047DC2E637E}"/>
              </a:ext>
            </a:extLst>
          </p:cNvPr>
          <p:cNvSpPr/>
          <p:nvPr/>
        </p:nvSpPr>
        <p:spPr>
          <a:xfrm>
            <a:off x="7853735" y="2237768"/>
            <a:ext cx="1371600" cy="2462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dirty="0">
                <a:solidFill>
                  <a:schemeClr val="bg1"/>
                </a:solidFill>
              </a:rPr>
              <a:t>Test</a:t>
            </a:r>
          </a:p>
        </p:txBody>
      </p: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3F071673-2F3F-4CEA-9447-5D31C28D04EA}"/>
              </a:ext>
            </a:extLst>
          </p:cNvPr>
          <p:cNvCxnSpPr>
            <a:cxnSpLocks/>
            <a:stCxn id="42" idx="6"/>
            <a:endCxn id="55" idx="2"/>
          </p:cNvCxnSpPr>
          <p:nvPr/>
        </p:nvCxnSpPr>
        <p:spPr>
          <a:xfrm>
            <a:off x="6845776" y="2376738"/>
            <a:ext cx="900638" cy="6387"/>
          </a:xfrm>
          <a:prstGeom prst="straightConnector1">
            <a:avLst/>
          </a:prstGeom>
          <a:ln w="22225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2A2D947C-EEA3-4498-A692-F602A66C35EB}"/>
              </a:ext>
            </a:extLst>
          </p:cNvPr>
          <p:cNvCxnSpPr>
            <a:cxnSpLocks/>
            <a:stCxn id="17" idx="6"/>
            <a:endCxn id="53" idx="2"/>
          </p:cNvCxnSpPr>
          <p:nvPr/>
        </p:nvCxnSpPr>
        <p:spPr>
          <a:xfrm>
            <a:off x="6843684" y="4676605"/>
            <a:ext cx="897282" cy="7147"/>
          </a:xfrm>
          <a:prstGeom prst="straightConnector1">
            <a:avLst/>
          </a:prstGeom>
          <a:ln w="22225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tangle 66">
            <a:extLst>
              <a:ext uri="{FF2B5EF4-FFF2-40B4-BE49-F238E27FC236}">
                <a16:creationId xmlns:a16="http://schemas.microsoft.com/office/drawing/2014/main" id="{9953D7DA-A600-4BD6-B286-32135AAA2F42}"/>
              </a:ext>
            </a:extLst>
          </p:cNvPr>
          <p:cNvSpPr/>
          <p:nvPr/>
        </p:nvSpPr>
        <p:spPr>
          <a:xfrm>
            <a:off x="7874179" y="5656402"/>
            <a:ext cx="1348582" cy="22403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900"/>
              </a:lnSpc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Multiple tools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EB7740F4-9974-45CD-89DC-A20A3A6C22FE}"/>
              </a:ext>
            </a:extLst>
          </p:cNvPr>
          <p:cNvSpPr/>
          <p:nvPr/>
        </p:nvSpPr>
        <p:spPr>
          <a:xfrm>
            <a:off x="7860425" y="3327979"/>
            <a:ext cx="1348582" cy="22403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900"/>
              </a:lnSpc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Multiple tools</a:t>
            </a: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894FD079-EE3F-4FFF-A795-578759F3A851}"/>
              </a:ext>
            </a:extLst>
          </p:cNvPr>
          <p:cNvSpPr/>
          <p:nvPr/>
        </p:nvSpPr>
        <p:spPr>
          <a:xfrm>
            <a:off x="10229104" y="3871658"/>
            <a:ext cx="1587500" cy="1587500"/>
          </a:xfrm>
          <a:prstGeom prst="ellipse">
            <a:avLst/>
          </a:prstGeom>
          <a:solidFill>
            <a:srgbClr val="049F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/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A135FD26-180D-44A0-8AD6-E211D6D156FE}"/>
              </a:ext>
            </a:extLst>
          </p:cNvPr>
          <p:cNvSpPr/>
          <p:nvPr/>
        </p:nvSpPr>
        <p:spPr>
          <a:xfrm>
            <a:off x="10362317" y="4515669"/>
            <a:ext cx="1371600" cy="2462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dirty="0">
                <a:solidFill>
                  <a:schemeClr val="bg1"/>
                </a:solidFill>
              </a:rPr>
              <a:t>Analyze</a:t>
            </a: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59E35145-EF14-4CF8-9511-569255621A38}"/>
              </a:ext>
            </a:extLst>
          </p:cNvPr>
          <p:cNvSpPr/>
          <p:nvPr/>
        </p:nvSpPr>
        <p:spPr>
          <a:xfrm>
            <a:off x="10194931" y="1583342"/>
            <a:ext cx="1587500" cy="158750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C5C92AF8-9ED3-4D1C-8B5D-C943338F8BDD}"/>
              </a:ext>
            </a:extLst>
          </p:cNvPr>
          <p:cNvSpPr/>
          <p:nvPr/>
        </p:nvSpPr>
        <p:spPr>
          <a:xfrm>
            <a:off x="10302252" y="2231735"/>
            <a:ext cx="1371600" cy="2462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dirty="0">
                <a:solidFill>
                  <a:schemeClr val="bg1"/>
                </a:solidFill>
              </a:rPr>
              <a:t>Analyze</a:t>
            </a:r>
          </a:p>
        </p:txBody>
      </p: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3D756010-4B58-4BC5-A720-8C36EA7BECCB}"/>
              </a:ext>
            </a:extLst>
          </p:cNvPr>
          <p:cNvCxnSpPr>
            <a:cxnSpLocks/>
            <a:stCxn id="55" idx="6"/>
            <a:endCxn id="75" idx="2"/>
          </p:cNvCxnSpPr>
          <p:nvPr/>
        </p:nvCxnSpPr>
        <p:spPr>
          <a:xfrm flipV="1">
            <a:off x="9333914" y="2377092"/>
            <a:ext cx="861017" cy="6033"/>
          </a:xfrm>
          <a:prstGeom prst="straightConnector1">
            <a:avLst/>
          </a:prstGeom>
          <a:ln w="22225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Arrow Connector 77">
            <a:extLst>
              <a:ext uri="{FF2B5EF4-FFF2-40B4-BE49-F238E27FC236}">
                <a16:creationId xmlns:a16="http://schemas.microsoft.com/office/drawing/2014/main" id="{33ED4CB2-EFCE-4FE9-9A26-5B3B3FB46BEE}"/>
              </a:ext>
            </a:extLst>
          </p:cNvPr>
          <p:cNvCxnSpPr>
            <a:cxnSpLocks/>
            <a:stCxn id="53" idx="6"/>
            <a:endCxn id="73" idx="2"/>
          </p:cNvCxnSpPr>
          <p:nvPr/>
        </p:nvCxnSpPr>
        <p:spPr>
          <a:xfrm flipV="1">
            <a:off x="9328466" y="4665408"/>
            <a:ext cx="900638" cy="18344"/>
          </a:xfrm>
          <a:prstGeom prst="straightConnector1">
            <a:avLst/>
          </a:prstGeom>
          <a:ln w="22225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Rectangle 78">
            <a:extLst>
              <a:ext uri="{FF2B5EF4-FFF2-40B4-BE49-F238E27FC236}">
                <a16:creationId xmlns:a16="http://schemas.microsoft.com/office/drawing/2014/main" id="{02BBD59E-0BFF-4F79-B9EA-221AC1C01075}"/>
              </a:ext>
            </a:extLst>
          </p:cNvPr>
          <p:cNvSpPr/>
          <p:nvPr/>
        </p:nvSpPr>
        <p:spPr>
          <a:xfrm>
            <a:off x="10362317" y="5516230"/>
            <a:ext cx="1348582" cy="46769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900"/>
              </a:lnSpc>
            </a:pP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ViVE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 Process Intelligence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5145E6B8-80DA-4134-AB78-B748DFD14619}"/>
              </a:ext>
            </a:extLst>
          </p:cNvPr>
          <p:cNvSpPr/>
          <p:nvPr/>
        </p:nvSpPr>
        <p:spPr>
          <a:xfrm>
            <a:off x="10308942" y="3200118"/>
            <a:ext cx="1348582" cy="46769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900"/>
              </a:lnSpc>
            </a:pP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ViVE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rPr>
              <a:t> Business Intelligence</a:t>
            </a:r>
          </a:p>
        </p:txBody>
      </p:sp>
    </p:spTree>
    <p:extLst>
      <p:ext uri="{BB962C8B-B14F-4D97-AF65-F5344CB8AC3E}">
        <p14:creationId xmlns:p14="http://schemas.microsoft.com/office/powerpoint/2010/main" val="48102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48AF822-31E4-47C4-B9D3-558ED2E8E5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33974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3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86F62AA-068C-4CE3-8946-F241D2DA1BC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000" b="1" dirty="0">
              <a:solidFill>
                <a:schemeClr val="bg1"/>
              </a:solidFill>
              <a:latin typeface="Franklin Gothic Book" panose="020B0503020102020204" pitchFamily="34" charset="0"/>
              <a:ea typeface="+mj-ea"/>
              <a:cs typeface="+mj-cs"/>
              <a:sym typeface="Franklin Gothic Book" panose="020B0503020102020204" pitchFamily="34" charset="0"/>
            </a:endParaRP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en-US" dirty="0"/>
              <a:t>What happened?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US" dirty="0"/>
              <a:t>Business Intelligence</a:t>
            </a:r>
          </a:p>
          <a:p>
            <a:pPr marL="342900" lvl="2" indent="-342900">
              <a:buFont typeface="Arial" panose="020B0604020202020204" pitchFamily="34" charset="0"/>
              <a:buChar char="•"/>
            </a:pPr>
            <a:r>
              <a:rPr lang="en-US" dirty="0"/>
              <a:t>Which vendors were utilized most often? </a:t>
            </a:r>
          </a:p>
          <a:p>
            <a:pPr marL="342900" lvl="2" indent="-342900">
              <a:buFont typeface="Arial" panose="020B0604020202020204" pitchFamily="34" charset="0"/>
              <a:buChar char="•"/>
            </a:pPr>
            <a:r>
              <a:rPr lang="en-US" dirty="0"/>
              <a:t>Which purchased items represent the largest financial outlay?</a:t>
            </a:r>
          </a:p>
          <a:p>
            <a:pPr marL="342900" lvl="2" indent="-342900">
              <a:buFont typeface="Arial" panose="020B0604020202020204" pitchFamily="34" charset="0"/>
              <a:buChar char="•"/>
            </a:pPr>
            <a:r>
              <a:rPr lang="en-US" dirty="0"/>
              <a:t>Which payment flow is most commonly used?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2D3C42F3-644B-7F4A-A81F-724E42153478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en-US" dirty="0"/>
              <a:t>Why did it happen?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US" dirty="0"/>
              <a:t>Process Intelligence</a:t>
            </a:r>
          </a:p>
          <a:p>
            <a:pPr marL="342900" lvl="2" indent="-342900">
              <a:buFont typeface="Arial" panose="020B0604020202020204" pitchFamily="34" charset="0"/>
              <a:buChar char="•"/>
            </a:pPr>
            <a:r>
              <a:rPr lang="en-US" dirty="0"/>
              <a:t>What is the typical process flow?</a:t>
            </a:r>
          </a:p>
          <a:p>
            <a:pPr marL="342900" lvl="2" indent="-342900">
              <a:buFont typeface="Arial" panose="020B0604020202020204" pitchFamily="34" charset="0"/>
              <a:buChar char="•"/>
            </a:pPr>
            <a:r>
              <a:rPr lang="en-US" dirty="0"/>
              <a:t>How long does each process take on average? Minimum time? Maximum time?</a:t>
            </a:r>
          </a:p>
          <a:p>
            <a:pPr marL="342900" lvl="2" indent="-342900">
              <a:buFont typeface="Arial" panose="020B0604020202020204" pitchFamily="34" charset="0"/>
              <a:buChar char="•"/>
            </a:pPr>
            <a:r>
              <a:rPr lang="en-US" dirty="0"/>
              <a:t>At what stages are bottlenecks occurring?</a:t>
            </a:r>
          </a:p>
          <a:p>
            <a:pPr marL="342900" lvl="2" indent="-34290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74B2DCD7-AD3A-9440-9EB9-31AE914DBB40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US" dirty="0"/>
              <a:t>What now?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US" dirty="0"/>
              <a:t>BI + PI + Domain Info</a:t>
            </a:r>
          </a:p>
          <a:p>
            <a:pPr marL="342900" lvl="2" indent="-342900">
              <a:buFont typeface="Arial" panose="020B0604020202020204" pitchFamily="34" charset="0"/>
              <a:buChar char="•"/>
            </a:pPr>
            <a:r>
              <a:rPr lang="en-US" dirty="0"/>
              <a:t>Should specific items or vendors be placed in a different process?</a:t>
            </a:r>
          </a:p>
          <a:p>
            <a:pPr marL="342900" lvl="2" indent="-342900">
              <a:buFont typeface="Arial" panose="020B0604020202020204" pitchFamily="34" charset="0"/>
              <a:buChar char="•"/>
            </a:pPr>
            <a:r>
              <a:rPr lang="en-US" dirty="0"/>
              <a:t>Should a process be revised?</a:t>
            </a:r>
          </a:p>
          <a:p>
            <a:pPr marL="342900" lvl="2" indent="-342900">
              <a:buFont typeface="Arial" panose="020B0604020202020204" pitchFamily="34" charset="0"/>
              <a:buChar char="•"/>
            </a:pPr>
            <a:r>
              <a:rPr lang="en-US" dirty="0"/>
              <a:t>Can we remove some of the steps from a lengthy process?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idx="14"/>
          </p:nvPr>
        </p:nvSpPr>
        <p:spPr/>
        <p:txBody>
          <a:bodyPr/>
          <a:lstStyle/>
          <a:p>
            <a:r>
              <a:rPr lang="en-US" dirty="0"/>
              <a:t>Footer information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siness Intelligence v. Process Intelligence</a:t>
            </a:r>
          </a:p>
        </p:txBody>
      </p:sp>
    </p:spTree>
    <p:extLst>
      <p:ext uri="{BB962C8B-B14F-4D97-AF65-F5344CB8AC3E}">
        <p14:creationId xmlns:p14="http://schemas.microsoft.com/office/powerpoint/2010/main" val="400784511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9E85C9B-09B9-4838-ACB1-FD5C4AC00A2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2280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F6AE3F6A-D8F1-4E11-84F1-65092744239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000" b="1" dirty="0">
              <a:solidFill>
                <a:schemeClr val="bg1"/>
              </a:solidFill>
              <a:latin typeface="Franklin Gothic Book" panose="020B0503020102020204" pitchFamily="34" charset="0"/>
              <a:ea typeface="+mj-ea"/>
              <a:cs typeface="+mj-cs"/>
              <a:sym typeface="Franklin Gothic Book" panose="020B05030201020202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6F5F6E6-4FA9-4B1A-8D4A-D8D595D16C4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D4F18BB-C662-4A7F-8728-06204F76E1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2971799"/>
            <a:ext cx="10363200" cy="914402"/>
          </a:xfrm>
        </p:spPr>
        <p:txBody>
          <a:bodyPr/>
          <a:lstStyle/>
          <a:p>
            <a:r>
              <a:rPr lang="en-US" dirty="0" err="1"/>
              <a:t>ViVE</a:t>
            </a:r>
            <a:r>
              <a:rPr lang="en-US" dirty="0"/>
              <a:t> Demo</a:t>
            </a:r>
          </a:p>
        </p:txBody>
      </p:sp>
      <p:pic>
        <p:nvPicPr>
          <p:cNvPr id="12" name="Picture 11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09AA94B-4E14-4EEA-83E1-56A405BB2B0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2317" y="6074874"/>
            <a:ext cx="2488169" cy="622042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C3F0FC5-DEF0-4808-9B24-112C497672F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0" y="121321"/>
            <a:ext cx="12192000" cy="6615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06775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D7953FA-2A70-46C8-BCB0-12A367E636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94401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D7953FA-2A70-46C8-BCB0-12A367E636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A446B3A-47E4-400A-875D-6C435A6155B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000" b="1" dirty="0">
              <a:solidFill>
                <a:schemeClr val="bg1"/>
              </a:solidFill>
              <a:latin typeface="Franklin Gothic Book" panose="020B0503020102020204" pitchFamily="34" charset="0"/>
              <a:ea typeface="+mj-ea"/>
              <a:cs typeface="+mj-cs"/>
              <a:sym typeface="Franklin Gothic Book" panose="020B0503020102020204" pitchFamily="34" charset="0"/>
            </a:endParaRP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>
          <a:xfrm>
            <a:off x="914399" y="2057400"/>
            <a:ext cx="6916615" cy="3657600"/>
          </a:xfrm>
        </p:spPr>
        <p:txBody>
          <a:bodyPr/>
          <a:lstStyle/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US" sz="2400" b="1" dirty="0"/>
              <a:t>Maximum impact: </a:t>
            </a:r>
            <a:r>
              <a:rPr lang="en-US" sz="2400" dirty="0"/>
              <a:t>Focus on 3-way match before goods receipt process or Latex &amp; Monomers item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US" sz="2400" b="1" dirty="0"/>
              <a:t>Start small: </a:t>
            </a:r>
            <a:r>
              <a:rPr lang="en-US" sz="2400" dirty="0"/>
              <a:t>Focus on consignment process or Workforce Services items</a:t>
            </a:r>
            <a:br>
              <a:rPr lang="en-US" sz="2400" dirty="0"/>
            </a:br>
            <a:endParaRPr lang="en-US" sz="2400" dirty="0"/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US" sz="2400" dirty="0"/>
              <a:t>Focus on data preparation and utilize domain knowledge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US" sz="2400" dirty="0"/>
              <a:t>Consider business objectives when determining processes to examine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24" name="Text Placeholder 23"/>
          <p:cNvSpPr>
            <a:spLocks noGrp="1"/>
          </p:cNvSpPr>
          <p:nvPr>
            <p:ph type="body" idx="14"/>
          </p:nvPr>
        </p:nvSpPr>
        <p:spPr>
          <a:xfrm>
            <a:off x="914400" y="6428192"/>
            <a:ext cx="6705600" cy="16799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ights</a:t>
            </a:r>
          </a:p>
        </p:txBody>
      </p:sp>
      <p:pic>
        <p:nvPicPr>
          <p:cNvPr id="5" name="Picture 4" descr="A picture containing light&#10;&#10;Description automatically generated">
            <a:extLst>
              <a:ext uri="{FF2B5EF4-FFF2-40B4-BE49-F238E27FC236}">
                <a16:creationId xmlns:a16="http://schemas.microsoft.com/office/drawing/2014/main" id="{A61DA8F2-B1C6-4A08-813B-7AA2C1C90374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142" r="35769"/>
          <a:stretch/>
        </p:blipFill>
        <p:spPr>
          <a:xfrm>
            <a:off x="8497200" y="1152197"/>
            <a:ext cx="2898476" cy="4782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160296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FC9A454-36D5-E548-B494-02427F7D5DE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Content Placeholder 7" descr="Graphical user interface, chart, application, Excel, bar chart&#10;&#10;Description automatically generated">
            <a:extLst>
              <a:ext uri="{FF2B5EF4-FFF2-40B4-BE49-F238E27FC236}">
                <a16:creationId xmlns:a16="http://schemas.microsoft.com/office/drawing/2014/main" id="{044CA075-B34F-8D41-B663-84986661FC5D}"/>
              </a:ext>
            </a:extLst>
          </p:cNvPr>
          <p:cNvPicPr>
            <a:picLocks noGrp="1"/>
          </p:cNvPicPr>
          <p:nvPr>
            <p:ph sz="quarter" idx="15"/>
          </p:nvPr>
        </p:nvPicPr>
        <p:blipFill>
          <a:blip r:embed="rId2"/>
          <a:stretch>
            <a:fillRect/>
          </a:stretch>
        </p:blipFill>
        <p:spPr>
          <a:xfrm>
            <a:off x="522514" y="1168660"/>
            <a:ext cx="5181600" cy="4366726"/>
          </a:xfrm>
          <a:prstGeom prst="rect">
            <a:avLst/>
          </a:prstGeom>
        </p:spPr>
      </p:pic>
      <p:pic>
        <p:nvPicPr>
          <p:cNvPr id="9" name="Content Placeholder 8" descr="Chart, bar chart&#10;&#10;Description automatically generated">
            <a:extLst>
              <a:ext uri="{FF2B5EF4-FFF2-40B4-BE49-F238E27FC236}">
                <a16:creationId xmlns:a16="http://schemas.microsoft.com/office/drawing/2014/main" id="{8E345D4C-45CC-6D43-9BE1-42690D39E5FB}"/>
              </a:ext>
            </a:extLst>
          </p:cNvPr>
          <p:cNvPicPr>
            <a:picLocks noGrp="1"/>
          </p:cNvPicPr>
          <p:nvPr>
            <p:ph sz="quarter" idx="17"/>
          </p:nvPr>
        </p:nvPicPr>
        <p:blipFill>
          <a:blip r:embed="rId3"/>
          <a:stretch>
            <a:fillRect/>
          </a:stretch>
        </p:blipFill>
        <p:spPr>
          <a:xfrm>
            <a:off x="6095999" y="1324947"/>
            <a:ext cx="5343331" cy="42104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44717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U9N58WxxVNooX98maKr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2Di.YrT4RFo5h4sb0tRu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FnbT..PLrX3rqA8fM8GN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ZBG30OoLNoxAUFbqGNP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2Di.YrT4RFo5h4sb0tRu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IAkZUcP8Fb2uQPbFH5l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bA8q5EFuW0IsSjA9eOR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U9N58WxxVNooX98maKr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2Di.YrT4RFo5h4sb0tRug"/>
</p:tagLst>
</file>

<file path=ppt/theme/theme1.xml><?xml version="1.0" encoding="utf-8"?>
<a:theme xmlns:a="http://schemas.openxmlformats.org/drawingml/2006/main" name="Sophisticated Business">
  <a:themeElements>
    <a:clrScheme name="UTD 2019 Colors">
      <a:dk1>
        <a:srgbClr val="000000"/>
      </a:dk1>
      <a:lt1>
        <a:srgbClr val="FFFFFF"/>
      </a:lt1>
      <a:dk2>
        <a:srgbClr val="414141"/>
      </a:dk2>
      <a:lt2>
        <a:srgbClr val="E7E6E6"/>
      </a:lt2>
      <a:accent1>
        <a:srgbClr val="E87500"/>
      </a:accent1>
      <a:accent2>
        <a:srgbClr val="69BD28"/>
      </a:accent2>
      <a:accent3>
        <a:srgbClr val="00A0DE"/>
      </a:accent3>
      <a:accent4>
        <a:srgbClr val="FFB611"/>
      </a:accent4>
      <a:accent5>
        <a:srgbClr val="154734"/>
      </a:accent5>
      <a:accent6>
        <a:srgbClr val="5FE0B7"/>
      </a:accent6>
      <a:hlink>
        <a:srgbClr val="C8C8C8"/>
      </a:hlink>
      <a:folHlink>
        <a:srgbClr val="808080"/>
      </a:folHlink>
    </a:clrScheme>
    <a:fontScheme name="Sophisticated Business">
      <a:majorFont>
        <a:latin typeface="Franklin Gothic Book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wrap="none" lIns="228600" tIns="228600" rIns="228600" bIns="228600" rtlCol="0" anchor="ctr">
        <a:noAutofit/>
      </a:bodyPr>
      <a:lstStyle>
        <a:defPPr algn="ctr">
          <a:defRPr sz="1400" dirty="0" smtClean="0">
            <a:solidFill>
              <a:schemeClr val="bg1"/>
            </a:solidFill>
            <a:latin typeface="Franklin Gothic Demi Cond" panose="020B07060304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20000"/>
          </a:lnSpc>
          <a:defRPr dirty="0">
            <a:solidFill>
              <a:schemeClr val="tx2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Sophisticated Business">
      <a:dk1>
        <a:sysClr val="windowText" lastClr="000000"/>
      </a:dk1>
      <a:lt1>
        <a:sysClr val="window" lastClr="FFFFFF"/>
      </a:lt1>
      <a:dk2>
        <a:srgbClr val="897C57"/>
      </a:dk2>
      <a:lt2>
        <a:srgbClr val="FFFFFF"/>
      </a:lt2>
      <a:accent1>
        <a:srgbClr val="3C8689"/>
      </a:accent1>
      <a:accent2>
        <a:srgbClr val="E2BA41"/>
      </a:accent2>
      <a:accent3>
        <a:srgbClr val="C8904D"/>
      </a:accent3>
      <a:accent4>
        <a:srgbClr val="66AF9E"/>
      </a:accent4>
      <a:accent5>
        <a:srgbClr val="897C57"/>
      </a:accent5>
      <a:accent6>
        <a:srgbClr val="AF9D66"/>
      </a:accent6>
      <a:hlink>
        <a:srgbClr val="3C8689"/>
      </a:hlink>
      <a:folHlink>
        <a:srgbClr val="897C57"/>
      </a:folHlink>
    </a:clrScheme>
    <a:fontScheme name="Sophisticated Business">
      <a:majorFont>
        <a:latin typeface="Franklin Gothic Book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Sophisticated Business">
      <a:dk1>
        <a:sysClr val="windowText" lastClr="000000"/>
      </a:dk1>
      <a:lt1>
        <a:sysClr val="window" lastClr="FFFFFF"/>
      </a:lt1>
      <a:dk2>
        <a:srgbClr val="897C57"/>
      </a:dk2>
      <a:lt2>
        <a:srgbClr val="FFFFFF"/>
      </a:lt2>
      <a:accent1>
        <a:srgbClr val="3C8689"/>
      </a:accent1>
      <a:accent2>
        <a:srgbClr val="E2BA41"/>
      </a:accent2>
      <a:accent3>
        <a:srgbClr val="C8904D"/>
      </a:accent3>
      <a:accent4>
        <a:srgbClr val="66AF9E"/>
      </a:accent4>
      <a:accent5>
        <a:srgbClr val="897C57"/>
      </a:accent5>
      <a:accent6>
        <a:srgbClr val="AF9D66"/>
      </a:accent6>
      <a:hlink>
        <a:srgbClr val="3C8689"/>
      </a:hlink>
      <a:folHlink>
        <a:srgbClr val="897C57"/>
      </a:folHlink>
    </a:clrScheme>
    <a:fontScheme name="Sophisticated Business">
      <a:majorFont>
        <a:latin typeface="Franklin Gothic Book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59</Words>
  <Application>Microsoft Macintosh PowerPoint</Application>
  <PresentationFormat>Widescreen</PresentationFormat>
  <Paragraphs>85</Paragraphs>
  <Slides>14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1" baseType="lpstr">
      <vt:lpstr>Arial</vt:lpstr>
      <vt:lpstr>Franklin Gothic Book</vt:lpstr>
      <vt:lpstr>Franklin Gothic Demi Cond</vt:lpstr>
      <vt:lpstr>Georgia</vt:lpstr>
      <vt:lpstr>Wingdings</vt:lpstr>
      <vt:lpstr>Sophisticated Business</vt:lpstr>
      <vt:lpstr>think-cell Slide</vt:lpstr>
      <vt:lpstr>Use Case:   ViVE BI &amp; Process Intelligence</vt:lpstr>
      <vt:lpstr>Project Overview</vt:lpstr>
      <vt:lpstr>Dataset: Purchase Order Handling Process</vt:lpstr>
      <vt:lpstr>Payment Process Flows</vt:lpstr>
      <vt:lpstr>Data Preparation and  Process Flow</vt:lpstr>
      <vt:lpstr>Business Intelligence v. Process Intelligence</vt:lpstr>
      <vt:lpstr>ViVE Demo</vt:lpstr>
      <vt:lpstr>Insight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se Case:   ViVE BI &amp; Process Intelligence</dc:title>
  <dc:creator>Rana, Nishant</dc:creator>
  <cp:lastModifiedBy>Rana, Nishant</cp:lastModifiedBy>
  <cp:revision>2</cp:revision>
  <dcterms:created xsi:type="dcterms:W3CDTF">2020-12-25T14:01:14Z</dcterms:created>
  <dcterms:modified xsi:type="dcterms:W3CDTF">2020-12-25T14:02:11Z</dcterms:modified>
</cp:coreProperties>
</file>